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g"/>
  <Override PartName="/ppt/presentation.xml" ContentType="application/vnd.openxmlformats-officedocument.presentationml.presentation.main+xml"/>
  <Override PartName="/ppt/slides/slide20.xml" ContentType="application/vnd.openxmlformats-officedocument.presentationml.slide+xml"/>
  <Override PartName="/ppt/slides/slide38.xml" ContentType="application/vnd.openxmlformats-officedocument.presentationml.slide+xml"/>
  <Override PartName="/ppt/slides/slide37.xml" ContentType="application/vnd.openxmlformats-officedocument.presentationml.slide+xml"/>
  <Override PartName="/ppt/slides/slide36.xml" ContentType="application/vnd.openxmlformats-officedocument.presentationml.slide+xml"/>
  <Override PartName="/ppt/slides/slide35.xml" ContentType="application/vnd.openxmlformats-officedocument.presentationml.slide+xml"/>
  <Override PartName="/ppt/slides/slide34.xml" ContentType="application/vnd.openxmlformats-officedocument.presentationml.slide+xml"/>
  <Override PartName="/ppt/slides/slide39.xml" ContentType="application/vnd.openxmlformats-officedocument.presentationml.slide+xml"/>
  <Override PartName="/ppt/slides/slide16.xml" ContentType="application/vnd.openxmlformats-officedocument.presentationml.slide+xml"/>
  <Override PartName="/ppt/slides/slide40.xml" ContentType="application/vnd.openxmlformats-officedocument.presentationml.slide+xml"/>
  <Override PartName="/ppt/slides/slide45.xml" ContentType="application/vnd.openxmlformats-officedocument.presentationml.slide+xml"/>
  <Override PartName="/ppt/slides/slide44.xml" ContentType="application/vnd.openxmlformats-officedocument.presentationml.slide+xml"/>
  <Override PartName="/ppt/slides/slide43.xml" ContentType="application/vnd.openxmlformats-officedocument.presentationml.slide+xml"/>
  <Override PartName="/ppt/slides/slide42.xml" ContentType="application/vnd.openxmlformats-officedocument.presentationml.slide+xml"/>
  <Override PartName="/ppt/slides/slide41.xml" ContentType="application/vnd.openxmlformats-officedocument.presentationml.slide+xml"/>
  <Override PartName="/ppt/slides/slide33.xml" ContentType="application/vnd.openxmlformats-officedocument.presentationml.slide+xml"/>
  <Override PartName="/ppt/slides/slide32.xml" ContentType="application/vnd.openxmlformats-officedocument.presentationml.slide+xml"/>
  <Override PartName="/ppt/slides/slide31.xml" ContentType="application/vnd.openxmlformats-officedocument.presentationml.slide+xml"/>
  <Override PartName="/ppt/slides/slide24.xml" ContentType="application/vnd.openxmlformats-officedocument.presentationml.slide+xml"/>
  <Override PartName="/ppt/slides/slide23.xml" ContentType="application/vnd.openxmlformats-officedocument.presentationml.slide+xml"/>
  <Override PartName="/ppt/slides/slide18.xml" ContentType="application/vnd.openxmlformats-officedocument.presentationml.slide+xml"/>
  <Override PartName="/ppt/slides/slide22.xml" ContentType="application/vnd.openxmlformats-officedocument.presentationml.slide+xml"/>
  <Override PartName="/ppt/slides/slide21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17.xml" ContentType="application/vnd.openxmlformats-officedocument.presentationml.slide+xml"/>
  <Override PartName="/ppt/slides/slide30.xml" ContentType="application/vnd.openxmlformats-officedocument.presentationml.slide+xml"/>
  <Override PartName="/ppt/slides/slide29.xml" ContentType="application/vnd.openxmlformats-officedocument.presentationml.slide+xml"/>
  <Override PartName="/ppt/slides/slide28.xml" ContentType="application/vnd.openxmlformats-officedocument.presentationml.slide+xml"/>
  <Override PartName="/ppt/slides/slide27.xml" ContentType="application/vnd.openxmlformats-officedocument.presentationml.slide+xml"/>
  <Override PartName="/ppt/slides/slide15.xml" ContentType="application/vnd.openxmlformats-officedocument.presentationml.slide+xml"/>
  <Override PartName="/ppt/slides/slide14.xml" ContentType="application/vnd.openxmlformats-officedocument.presentationml.slide+xml"/>
  <Override PartName="/ppt/slides/slide13.xml" ContentType="application/vnd.openxmlformats-officedocument.presentationml.slide+xml"/>
  <Override PartName="/ppt/slides/slide5.xml" ContentType="application/vnd.openxmlformats-officedocument.presentationml.slide+xml"/>
  <Override PartName="/ppt/slides/slide4.xml" ContentType="application/vnd.openxmlformats-officedocument.presentationml.slide+xml"/>
  <Override PartName="/ppt/slides/slide3.xml" ContentType="application/vnd.openxmlformats-officedocument.presentationml.slide+xml"/>
  <Override PartName="/ppt/slides/slide2.xml" ContentType="application/vnd.openxmlformats-officedocument.presentationml.slide+xml"/>
  <Override PartName="/ppt/slides/slide1.xml" ContentType="application/vnd.openxmlformats-officedocument.presentationml.slide+xml"/>
  <Override PartName="/ppt/slides/slide6.xml" ContentType="application/vnd.openxmlformats-officedocument.presentationml.slide+xml"/>
  <Override PartName="/ppt/slides/slide19.xml" ContentType="application/vnd.openxmlformats-officedocument.presentationml.slide+xml"/>
  <Override PartName="/ppt/slides/slide8.xml" ContentType="application/vnd.openxmlformats-officedocument.presentationml.slide+xml"/>
  <Override PartName="/ppt/slides/slide12.xml" ContentType="application/vnd.openxmlformats-officedocument.presentationml.slide+xml"/>
  <Override PartName="/ppt/slides/slide11.xml" ContentType="application/vnd.openxmlformats-officedocument.presentationml.slid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Slides/notesSlide9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9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26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28.xml" ContentType="application/vnd.openxmlformats-officedocument.presentationml.notesSlide+xml"/>
  <Override PartName="/ppt/slideLayouts/slideLayout4.xml" ContentType="application/vnd.openxmlformats-officedocument.presentationml.slideLayout+xml"/>
  <Override PartName="/ppt/slideLayouts/slideLayout9.xml" ContentType="application/vnd.openxmlformats-officedocument.presentationml.slideLayout+xml"/>
  <Override PartName="/ppt/notesSlides/notesSlide2.xml" ContentType="application/vnd.openxmlformats-officedocument.presentationml.notesSlide+xml"/>
  <Override PartName="/ppt/notesSlides/notesSlide1.xml" ContentType="application/vnd.openxmlformats-officedocument.presentationml.notesSlide+xml"/>
  <Override PartName="/ppt/slideLayouts/slideLayout7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slideLayouts/slideLayout1.xml" ContentType="application/vnd.openxmlformats-officedocument.presentationml.slideLayout+xml"/>
  <Override PartName="/ppt/media/image169.jpg" ContentType="image/jpeg"/>
  <Override PartName="/ppt/media/image170.jpg" ContentType="image/jpeg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theme/theme2.xml" ContentType="application/vnd.openxmlformats-officedocument.theme+xml"/>
  <Override PartName="/ppt/theme/theme1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33.xml" ContentType="application/vnd.openxmlformats-officedocument.presentationml.tags+xml"/>
  <Override PartName="/ppt/tags/tag12.xml" ContentType="application/vnd.openxmlformats-officedocument.presentationml.tags+xml"/>
  <Override PartName="/ppt/tags/tag7.xml" ContentType="application/vnd.openxmlformats-officedocument.presentationml.tags+xml"/>
  <Override PartName="/ppt/tags/tag5.xml" ContentType="application/vnd.openxmlformats-officedocument.presentationml.tags+xml"/>
  <Override PartName="/ppt/tags/tag25.xml" ContentType="application/vnd.openxmlformats-officedocument.presentationml.tags+xml"/>
  <Override PartName="/ppt/tags/tag10.xml" ContentType="application/vnd.openxmlformats-officedocument.presentationml.tags+xml"/>
  <Override PartName="/ppt/tags/tag27.xml" ContentType="application/vnd.openxmlformats-officedocument.presentationml.tags+xml"/>
  <Override PartName="/ppt/tags/tag16.xml" ContentType="application/vnd.openxmlformats-officedocument.presentationml.tags+xml"/>
  <Override PartName="/ppt/tags/tag24.xml" ContentType="application/vnd.openxmlformats-officedocument.presentationml.tags+xml"/>
  <Override PartName="/ppt/tags/tag29.xml" ContentType="application/vnd.openxmlformats-officedocument.presentationml.tags+xml"/>
  <Override PartName="/ppt/tags/tag28.xml" ContentType="application/vnd.openxmlformats-officedocument.presentationml.tags+xml"/>
  <Override PartName="/ppt/tags/tag39.xml" ContentType="application/vnd.openxmlformats-officedocument.presentationml.tags+xml"/>
  <Override PartName="/ppt/tags/tag11.xml" ContentType="application/vnd.openxmlformats-officedocument.presentationml.tags+xml"/>
  <Override PartName="/ppt/tags/tag37.xml" ContentType="application/vnd.openxmlformats-officedocument.presentationml.tags+xml"/>
  <Override PartName="/ppt/tags/tag18.xml" ContentType="application/vnd.openxmlformats-officedocument.presentationml.tags+xml"/>
  <Override PartName="/ppt/tags/tag26.xml" ContentType="application/vnd.openxmlformats-officedocument.presentationml.tag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15.xml" ContentType="application/vnd.openxmlformats-officedocument.presentationml.tags+xml"/>
  <Override PartName="/docProps/app.xml" ContentType="application/vnd.openxmlformats-officedocument.extended-properties+xml"/>
  <Override PartName="/ppt/tags/tag9.xml" ContentType="application/vnd.openxmlformats-officedocument.presentationml.tags+xml"/>
  <Override PartName="/ppt/tags/tag38.xml" ContentType="application/vnd.openxmlformats-officedocument.presentationml.tags+xml"/>
  <Override PartName="/ppt/tags/tag35.xml" ContentType="application/vnd.openxmlformats-officedocument.presentationml.tags+xml"/>
  <Override PartName="/ppt/tags/tag32.xml" ContentType="application/vnd.openxmlformats-officedocument.presentationml.tags+xml"/>
  <Override PartName="/ppt/tags/tag6.xml" ContentType="application/vnd.openxmlformats-officedocument.presentationml.tags+xml"/>
  <Override PartName="/ppt/tags/tag14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21.xml" ContentType="application/vnd.openxmlformats-officedocument.presentationml.tags+xml"/>
  <Override PartName="/ppt/tags/tag13.xml" ContentType="application/vnd.openxmlformats-officedocument.presentationml.tags+xml"/>
  <Override PartName="/ppt/tags/tag36.xml" ContentType="application/vnd.openxmlformats-officedocument.presentationml.tags+xml"/>
  <Override PartName="/ppt/tags/tag22.xml" ContentType="application/vnd.openxmlformats-officedocument.presentationml.tags+xml"/>
  <Override PartName="/ppt/tags/tag41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tags/tag8.xml" ContentType="application/vnd.openxmlformats-officedocument.presentationml.tags+xml"/>
  <Override PartName="/ppt/tags/tag19.xml" ContentType="application/vnd.openxmlformats-officedocument.presentationml.tags+xml"/>
  <Override PartName="/ppt/tags/tag34.xml" ContentType="application/vnd.openxmlformats-officedocument.presentationml.tags+xml"/>
  <Override PartName="/ppt/tags/tag17.xml" ContentType="application/vnd.openxmlformats-officedocument.presentationml.tags+xml"/>
  <Override PartName="/ppt/tags/tag2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20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7"/>
  </p:notesMasterIdLst>
  <p:sldIdLst>
    <p:sldId id="455" r:id="rId2"/>
    <p:sldId id="467" r:id="rId3"/>
    <p:sldId id="474" r:id="rId4"/>
    <p:sldId id="548" r:id="rId5"/>
    <p:sldId id="438" r:id="rId6"/>
    <p:sldId id="480" r:id="rId7"/>
    <p:sldId id="545" r:id="rId8"/>
    <p:sldId id="472" r:id="rId9"/>
    <p:sldId id="491" r:id="rId10"/>
    <p:sldId id="493" r:id="rId11"/>
    <p:sldId id="475" r:id="rId12"/>
    <p:sldId id="492" r:id="rId13"/>
    <p:sldId id="546" r:id="rId14"/>
    <p:sldId id="495" r:id="rId15"/>
    <p:sldId id="544" r:id="rId16"/>
    <p:sldId id="464" r:id="rId17"/>
    <p:sldId id="523" r:id="rId18"/>
    <p:sldId id="547" r:id="rId19"/>
    <p:sldId id="477" r:id="rId20"/>
    <p:sldId id="497" r:id="rId21"/>
    <p:sldId id="471" r:id="rId22"/>
    <p:sldId id="483" r:id="rId23"/>
    <p:sldId id="527" r:id="rId24"/>
    <p:sldId id="526" r:id="rId25"/>
    <p:sldId id="496" r:id="rId26"/>
    <p:sldId id="525" r:id="rId27"/>
    <p:sldId id="485" r:id="rId28"/>
    <p:sldId id="524" r:id="rId29"/>
    <p:sldId id="531" r:id="rId30"/>
    <p:sldId id="532" r:id="rId31"/>
    <p:sldId id="533" r:id="rId32"/>
    <p:sldId id="534" r:id="rId33"/>
    <p:sldId id="535" r:id="rId34"/>
    <p:sldId id="538" r:id="rId35"/>
    <p:sldId id="539" r:id="rId36"/>
    <p:sldId id="522" r:id="rId37"/>
    <p:sldId id="516" r:id="rId38"/>
    <p:sldId id="543" r:id="rId39"/>
    <p:sldId id="500" r:id="rId40"/>
    <p:sldId id="481" r:id="rId41"/>
    <p:sldId id="542" r:id="rId42"/>
    <p:sldId id="540" r:id="rId43"/>
    <p:sldId id="517" r:id="rId44"/>
    <p:sldId id="490" r:id="rId45"/>
    <p:sldId id="301" r:id="rId46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orient="horz" pos="3087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ina" initials="M" lastIdx="9" clrIdx="0"/>
  <p:cmAuthor id="2" name="Leilas" initials="L" lastIdx="11" clrIdx="1"/>
  <p:cmAuthor id="3" name="Admin" initials="AAA" lastIdx="2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383DD"/>
    <a:srgbClr val="9ED442"/>
    <a:srgbClr val="0073B8"/>
    <a:srgbClr val="F5B144"/>
    <a:srgbClr val="40A7E1"/>
    <a:srgbClr val="F6DB7E"/>
    <a:srgbClr val="E9950D"/>
    <a:srgbClr val="79BFD5"/>
    <a:srgbClr val="D8EBF4"/>
    <a:srgbClr val="EFF5F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963" autoAdjust="0"/>
    <p:restoredTop sz="96399" autoAdjust="0"/>
  </p:normalViewPr>
  <p:slideViewPr>
    <p:cSldViewPr snapToGrid="0">
      <p:cViewPr varScale="1">
        <p:scale>
          <a:sx n="112" d="100"/>
          <a:sy n="112" d="100"/>
        </p:scale>
        <p:origin x="378" y="108"/>
      </p:cViewPr>
      <p:guideLst>
        <p:guide orient="horz" pos="2160"/>
        <p:guide pos="3840"/>
        <p:guide orient="horz" pos="308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notesMaster" Target="notesMasters/notesMaster1.xml"/><Relationship Id="rId50" Type="http://schemas.openxmlformats.org/officeDocument/2006/relationships/viewProps" Target="viewProps.xml"/><Relationship Id="rId55" Type="http://schemas.openxmlformats.org/officeDocument/2006/relationships/customXml" Target="../customXml/item3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customXml" Target="../customXml/item1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commentAuthors" Target="commentAuthors.xml"/><Relationship Id="rId8" Type="http://schemas.openxmlformats.org/officeDocument/2006/relationships/slide" Target="slides/slide7.xml"/><Relationship Id="rId51" Type="http://schemas.openxmlformats.org/officeDocument/2006/relationships/theme" Target="theme/theme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customXml" Target="../customXml/item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BF8789-1979-4371-9085-ABA0C510A7FF}" type="datetimeFigureOut">
              <a:rPr lang="ru-RU" smtClean="0"/>
              <a:t>17.08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BC4957-3E6D-44F6-80D1-E054D6E6E00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937817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fld id="{F834F1D5-33B3-480A-A4E8-311841A67364}" type="datetime1">
              <a:rPr lang="ru-RU" smtClean="0"/>
              <a:t>17.08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708095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268205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8375079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942534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718007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552829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591269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252103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986926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1286619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76824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9545140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675161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996994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215423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574860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0520592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744709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075640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032988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4122040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32449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6275326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6860144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0570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0678092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93450495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947145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9514799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15407721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indent="291022"/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 lIns="92409" tIns="46205" rIns="92409" bIns="46205"/>
          <a:lstStyle/>
          <a:p>
            <a:r>
              <a:rPr lang="ru-RU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 lIns="92409" tIns="46205" rIns="92409" bIns="46205"/>
          <a:lstStyle/>
          <a:p>
            <a:fld id="{2C303744-75B1-4822-B334-F398EF5941A4}" type="datetime1">
              <a:rPr lang="ru-RU" smtClean="0"/>
              <a:t>17.08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54616037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3814958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089007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4187710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3784634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0077444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fld id="{F834F1D5-33B3-480A-A4E8-311841A67364}" type="datetime1">
              <a:rPr lang="ru-RU" smtClean="0"/>
              <a:t>17.08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227867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5610227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891335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41124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95424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94469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7.08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905021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7.08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98465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7.08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36884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Shape 59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2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0" name="Shape 60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9676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1" name="Shape 61"/>
          <p:cNvSpPr txBox="1">
            <a:spLocks noGrp="1"/>
          </p:cNvSpPr>
          <p:nvPr>
            <p:ph type="sldNum" idx="12"/>
          </p:nvPr>
        </p:nvSpPr>
        <p:spPr>
          <a:xfrm>
            <a:off x="11409055" y="6333133"/>
            <a:ext cx="7316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5299907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7.08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163320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7.08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221370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7.08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662915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7.08.2021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350319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7.08.2021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064591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7.08.2021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322994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7.08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178442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7.08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004575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8523F2-53FE-42F4-86B8-4598D2998874}" type="datetimeFigureOut">
              <a:rPr lang="ru-RU" smtClean="0"/>
              <a:t>17.08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4503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13" Type="http://schemas.openxmlformats.org/officeDocument/2006/relationships/image" Target="../media/image78.png"/><Relationship Id="rId18" Type="http://schemas.openxmlformats.org/officeDocument/2006/relationships/image" Target="../media/image48.png"/><Relationship Id="rId3" Type="http://schemas.openxmlformats.org/officeDocument/2006/relationships/slideLayout" Target="../slideLayouts/slideLayout2.xml"/><Relationship Id="rId21" Type="http://schemas.openxmlformats.org/officeDocument/2006/relationships/image" Target="../media/image85.jpeg"/><Relationship Id="rId7" Type="http://schemas.openxmlformats.org/officeDocument/2006/relationships/image" Target="../media/image75.jpg"/><Relationship Id="rId12" Type="http://schemas.openxmlformats.org/officeDocument/2006/relationships/image" Target="../media/image77.jpg"/><Relationship Id="rId17" Type="http://schemas.openxmlformats.org/officeDocument/2006/relationships/image" Target="../media/image82.jpg"/><Relationship Id="rId2" Type="http://schemas.openxmlformats.org/officeDocument/2006/relationships/tags" Target="../tags/tag8.xml"/><Relationship Id="rId16" Type="http://schemas.openxmlformats.org/officeDocument/2006/relationships/image" Target="../media/image81.jpg"/><Relationship Id="rId20" Type="http://schemas.openxmlformats.org/officeDocument/2006/relationships/image" Target="../media/image84.jpg"/><Relationship Id="rId1" Type="http://schemas.openxmlformats.org/officeDocument/2006/relationships/vmlDrawing" Target="../drawings/vmlDrawing7.vml"/><Relationship Id="rId6" Type="http://schemas.openxmlformats.org/officeDocument/2006/relationships/image" Target="../media/image74.jpg"/><Relationship Id="rId11" Type="http://schemas.openxmlformats.org/officeDocument/2006/relationships/image" Target="../media/image76.png"/><Relationship Id="rId24" Type="http://schemas.openxmlformats.org/officeDocument/2006/relationships/image" Target="../media/image88.jpg"/><Relationship Id="rId5" Type="http://schemas.openxmlformats.org/officeDocument/2006/relationships/image" Target="../media/image73.jpg"/><Relationship Id="rId15" Type="http://schemas.openxmlformats.org/officeDocument/2006/relationships/image" Target="../media/image80.png"/><Relationship Id="rId23" Type="http://schemas.openxmlformats.org/officeDocument/2006/relationships/image" Target="../media/image87.jpg"/><Relationship Id="rId10" Type="http://schemas.openxmlformats.org/officeDocument/2006/relationships/image" Target="../media/image7.emf"/><Relationship Id="rId19" Type="http://schemas.openxmlformats.org/officeDocument/2006/relationships/image" Target="../media/image83.jp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1.emf"/><Relationship Id="rId14" Type="http://schemas.openxmlformats.org/officeDocument/2006/relationships/image" Target="../media/image79.jpg"/><Relationship Id="rId22" Type="http://schemas.openxmlformats.org/officeDocument/2006/relationships/image" Target="../media/image86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emf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13.jpeg"/><Relationship Id="rId10" Type="http://schemas.openxmlformats.org/officeDocument/2006/relationships/image" Target="../media/image89.pn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17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image" Target="../media/image95.png"/><Relationship Id="rId3" Type="http://schemas.openxmlformats.org/officeDocument/2006/relationships/slideLayout" Target="../slideLayouts/slideLayout2.xml"/><Relationship Id="rId7" Type="http://schemas.openxmlformats.org/officeDocument/2006/relationships/oleObject" Target="../embeddings/oleObject9.bin"/><Relationship Id="rId12" Type="http://schemas.openxmlformats.org/officeDocument/2006/relationships/image" Target="../media/image94.png"/><Relationship Id="rId17" Type="http://schemas.openxmlformats.org/officeDocument/2006/relationships/image" Target="../media/image99.png"/><Relationship Id="rId2" Type="http://schemas.openxmlformats.org/officeDocument/2006/relationships/tags" Target="../tags/tag10.xml"/><Relationship Id="rId16" Type="http://schemas.openxmlformats.org/officeDocument/2006/relationships/image" Target="../media/image98.png"/><Relationship Id="rId1" Type="http://schemas.openxmlformats.org/officeDocument/2006/relationships/vmlDrawing" Target="../drawings/vmlDrawing9.vml"/><Relationship Id="rId6" Type="http://schemas.openxmlformats.org/officeDocument/2006/relationships/image" Target="../media/image91.png"/><Relationship Id="rId11" Type="http://schemas.openxmlformats.org/officeDocument/2006/relationships/image" Target="../media/image93.png"/><Relationship Id="rId5" Type="http://schemas.openxmlformats.org/officeDocument/2006/relationships/image" Target="../media/image90.png"/><Relationship Id="rId15" Type="http://schemas.openxmlformats.org/officeDocument/2006/relationships/image" Target="../media/image97.png"/><Relationship Id="rId10" Type="http://schemas.openxmlformats.org/officeDocument/2006/relationships/image" Target="../media/image92.pn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7.emf"/><Relationship Id="rId14" Type="http://schemas.openxmlformats.org/officeDocument/2006/relationships/image" Target="../media/image96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emf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102.pn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101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3.jpeg"/><Relationship Id="rId13" Type="http://schemas.openxmlformats.org/officeDocument/2006/relationships/image" Target="../media/image108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emf"/><Relationship Id="rId12" Type="http://schemas.openxmlformats.org/officeDocument/2006/relationships/image" Target="../media/image107.jpe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11" Type="http://schemas.openxmlformats.org/officeDocument/2006/relationships/image" Target="../media/image106.jpeg"/><Relationship Id="rId5" Type="http://schemas.openxmlformats.org/officeDocument/2006/relationships/oleObject" Target="../embeddings/oleObject11.bin"/><Relationship Id="rId10" Type="http://schemas.openxmlformats.org/officeDocument/2006/relationships/image" Target="../media/image105.jpeg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104.jpeg"/><Relationship Id="rId14" Type="http://schemas.openxmlformats.org/officeDocument/2006/relationships/image" Target="../media/image48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4.jpeg"/><Relationship Id="rId3" Type="http://schemas.openxmlformats.org/officeDocument/2006/relationships/image" Target="../media/image89.png"/><Relationship Id="rId7" Type="http://schemas.openxmlformats.org/officeDocument/2006/relationships/image" Target="../media/image113.jpeg"/><Relationship Id="rId2" Type="http://schemas.openxmlformats.org/officeDocument/2006/relationships/image" Target="../media/image109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2.jpeg"/><Relationship Id="rId5" Type="http://schemas.openxmlformats.org/officeDocument/2006/relationships/image" Target="../media/image111.jpeg"/><Relationship Id="rId10" Type="http://schemas.openxmlformats.org/officeDocument/2006/relationships/image" Target="../media/image7.emf"/><Relationship Id="rId4" Type="http://schemas.openxmlformats.org/officeDocument/2006/relationships/image" Target="../media/image110.jpeg"/><Relationship Id="rId9" Type="http://schemas.openxmlformats.org/officeDocument/2006/relationships/image" Target="../media/image115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116.jpeg"/><Relationship Id="rId10" Type="http://schemas.openxmlformats.org/officeDocument/2006/relationships/image" Target="../media/image118.jpeg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117.jpe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9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emf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10" Type="http://schemas.openxmlformats.org/officeDocument/2006/relationships/image" Target="../media/image121.png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120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2.jpeg"/><Relationship Id="rId13" Type="http://schemas.openxmlformats.org/officeDocument/2006/relationships/image" Target="../media/image126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emf"/><Relationship Id="rId12" Type="http://schemas.openxmlformats.org/officeDocument/2006/relationships/image" Target="../media/image125.jpe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11" Type="http://schemas.openxmlformats.org/officeDocument/2006/relationships/image" Target="../media/image48.png"/><Relationship Id="rId5" Type="http://schemas.openxmlformats.org/officeDocument/2006/relationships/oleObject" Target="../embeddings/oleObject14.bin"/><Relationship Id="rId10" Type="http://schemas.openxmlformats.org/officeDocument/2006/relationships/image" Target="../media/image124.gif"/><Relationship Id="rId4" Type="http://schemas.openxmlformats.org/officeDocument/2006/relationships/notesSlide" Target="../notesSlides/notesSlide16.xml"/><Relationship Id="rId9" Type="http://schemas.openxmlformats.org/officeDocument/2006/relationships/image" Target="../media/image123.jpeg"/><Relationship Id="rId14" Type="http://schemas.openxmlformats.org/officeDocument/2006/relationships/image" Target="../media/image127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8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emf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37.png"/><Relationship Id="rId4" Type="http://schemas.openxmlformats.org/officeDocument/2006/relationships/notesSlide" Target="../notesSlides/notesSlide17.xml"/><Relationship Id="rId9" Type="http://schemas.openxmlformats.org/officeDocument/2006/relationships/image" Target="../media/image129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13" Type="http://schemas.openxmlformats.org/officeDocument/2006/relationships/image" Target="../media/image14.jpeg"/><Relationship Id="rId18" Type="http://schemas.openxmlformats.org/officeDocument/2006/relationships/image" Target="../media/image19.jpeg"/><Relationship Id="rId26" Type="http://schemas.openxmlformats.org/officeDocument/2006/relationships/image" Target="../media/image27.jpeg"/><Relationship Id="rId3" Type="http://schemas.openxmlformats.org/officeDocument/2006/relationships/image" Target="../media/image4.jpeg"/><Relationship Id="rId21" Type="http://schemas.openxmlformats.org/officeDocument/2006/relationships/image" Target="../media/image22.jpeg"/><Relationship Id="rId7" Type="http://schemas.openxmlformats.org/officeDocument/2006/relationships/image" Target="../media/image8.jpeg"/><Relationship Id="rId12" Type="http://schemas.openxmlformats.org/officeDocument/2006/relationships/image" Target="../media/image13.jpeg"/><Relationship Id="rId17" Type="http://schemas.openxmlformats.org/officeDocument/2006/relationships/image" Target="../media/image18.jpeg"/><Relationship Id="rId25" Type="http://schemas.openxmlformats.org/officeDocument/2006/relationships/image" Target="../media/image26.jpeg"/><Relationship Id="rId33" Type="http://schemas.openxmlformats.org/officeDocument/2006/relationships/image" Target="../media/image34.png"/><Relationship Id="rId2" Type="http://schemas.openxmlformats.org/officeDocument/2006/relationships/image" Target="../media/image3.jpeg"/><Relationship Id="rId16" Type="http://schemas.openxmlformats.org/officeDocument/2006/relationships/image" Target="../media/image17.jpeg"/><Relationship Id="rId20" Type="http://schemas.openxmlformats.org/officeDocument/2006/relationships/image" Target="../media/image21.jpeg"/><Relationship Id="rId29" Type="http://schemas.openxmlformats.org/officeDocument/2006/relationships/image" Target="../media/image30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.emf"/><Relationship Id="rId11" Type="http://schemas.openxmlformats.org/officeDocument/2006/relationships/image" Target="../media/image12.jpeg"/><Relationship Id="rId24" Type="http://schemas.openxmlformats.org/officeDocument/2006/relationships/image" Target="../media/image25.jpeg"/><Relationship Id="rId32" Type="http://schemas.openxmlformats.org/officeDocument/2006/relationships/image" Target="../media/image33.png"/><Relationship Id="rId5" Type="http://schemas.openxmlformats.org/officeDocument/2006/relationships/image" Target="../media/image6.jpeg"/><Relationship Id="rId15" Type="http://schemas.openxmlformats.org/officeDocument/2006/relationships/image" Target="../media/image16.jpeg"/><Relationship Id="rId23" Type="http://schemas.openxmlformats.org/officeDocument/2006/relationships/image" Target="../media/image24.jpeg"/><Relationship Id="rId28" Type="http://schemas.openxmlformats.org/officeDocument/2006/relationships/image" Target="../media/image29.jpeg"/><Relationship Id="rId10" Type="http://schemas.openxmlformats.org/officeDocument/2006/relationships/image" Target="../media/image11.jpeg"/><Relationship Id="rId19" Type="http://schemas.openxmlformats.org/officeDocument/2006/relationships/image" Target="../media/image20.jpeg"/><Relationship Id="rId31" Type="http://schemas.openxmlformats.org/officeDocument/2006/relationships/image" Target="../media/image32.png"/><Relationship Id="rId4" Type="http://schemas.openxmlformats.org/officeDocument/2006/relationships/image" Target="../media/image5.jpeg"/><Relationship Id="rId9" Type="http://schemas.openxmlformats.org/officeDocument/2006/relationships/image" Target="../media/image10.jpeg"/><Relationship Id="rId14" Type="http://schemas.openxmlformats.org/officeDocument/2006/relationships/image" Target="../media/image15.jpeg"/><Relationship Id="rId22" Type="http://schemas.openxmlformats.org/officeDocument/2006/relationships/image" Target="../media/image23.jpeg"/><Relationship Id="rId27" Type="http://schemas.openxmlformats.org/officeDocument/2006/relationships/image" Target="../media/image28.jpeg"/><Relationship Id="rId30" Type="http://schemas.openxmlformats.org/officeDocument/2006/relationships/image" Target="../media/image31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2.xml"/><Relationship Id="rId7" Type="http://schemas.openxmlformats.org/officeDocument/2006/relationships/oleObject" Target="../embeddings/oleObject16.bin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31.png"/><Relationship Id="rId11" Type="http://schemas.openxmlformats.org/officeDocument/2006/relationships/image" Target="../media/image133.jpeg"/><Relationship Id="rId5" Type="http://schemas.openxmlformats.org/officeDocument/2006/relationships/image" Target="../media/image130.jpeg"/><Relationship Id="rId10" Type="http://schemas.openxmlformats.org/officeDocument/2006/relationships/image" Target="../media/image132.png"/><Relationship Id="rId4" Type="http://schemas.openxmlformats.org/officeDocument/2006/relationships/notesSlide" Target="../notesSlides/notesSlide18.xml"/><Relationship Id="rId9" Type="http://schemas.openxmlformats.org/officeDocument/2006/relationships/image" Target="../media/image7.emf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4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19.xml"/><Relationship Id="rId9" Type="http://schemas.openxmlformats.org/officeDocument/2006/relationships/image" Target="../media/image26.jpe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20.xml"/><Relationship Id="rId9" Type="http://schemas.openxmlformats.org/officeDocument/2006/relationships/image" Target="../media/image11.jpe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21.xml"/><Relationship Id="rId9" Type="http://schemas.openxmlformats.org/officeDocument/2006/relationships/image" Target="../media/image39.jpe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5.jpeg"/><Relationship Id="rId13" Type="http://schemas.openxmlformats.org/officeDocument/2006/relationships/image" Target="../media/image4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emf"/><Relationship Id="rId12" Type="http://schemas.openxmlformats.org/officeDocument/2006/relationships/image" Target="../media/image139.jpe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11" Type="http://schemas.openxmlformats.org/officeDocument/2006/relationships/image" Target="../media/image138.gif"/><Relationship Id="rId5" Type="http://schemas.openxmlformats.org/officeDocument/2006/relationships/oleObject" Target="../embeddings/oleObject20.bin"/><Relationship Id="rId10" Type="http://schemas.openxmlformats.org/officeDocument/2006/relationships/image" Target="../media/image137.jpeg"/><Relationship Id="rId4" Type="http://schemas.openxmlformats.org/officeDocument/2006/relationships/notesSlide" Target="../notesSlides/notesSlide22.xml"/><Relationship Id="rId9" Type="http://schemas.openxmlformats.org/officeDocument/2006/relationships/image" Target="../media/image136.jpe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emf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23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0.png"/><Relationship Id="rId13" Type="http://schemas.openxmlformats.org/officeDocument/2006/relationships/image" Target="../media/image14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emf"/><Relationship Id="rId12" Type="http://schemas.openxmlformats.org/officeDocument/2006/relationships/image" Target="../media/image143.png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11" Type="http://schemas.openxmlformats.org/officeDocument/2006/relationships/image" Target="../media/image142.gif"/><Relationship Id="rId5" Type="http://schemas.openxmlformats.org/officeDocument/2006/relationships/oleObject" Target="../embeddings/oleObject22.bin"/><Relationship Id="rId10" Type="http://schemas.openxmlformats.org/officeDocument/2006/relationships/image" Target="../media/image141.png"/><Relationship Id="rId4" Type="http://schemas.openxmlformats.org/officeDocument/2006/relationships/notesSlide" Target="../notesSlides/notesSlide24.xml"/><Relationship Id="rId9" Type="http://schemas.openxmlformats.org/officeDocument/2006/relationships/image" Target="../media/image48.png"/><Relationship Id="rId14" Type="http://schemas.openxmlformats.org/officeDocument/2006/relationships/image" Target="../media/image145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6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emf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11" Type="http://schemas.openxmlformats.org/officeDocument/2006/relationships/image" Target="../media/image110.jpeg"/><Relationship Id="rId5" Type="http://schemas.openxmlformats.org/officeDocument/2006/relationships/oleObject" Target="../embeddings/oleObject23.bin"/><Relationship Id="rId10" Type="http://schemas.openxmlformats.org/officeDocument/2006/relationships/image" Target="../media/image89.png"/><Relationship Id="rId4" Type="http://schemas.openxmlformats.org/officeDocument/2006/relationships/notesSlide" Target="../notesSlides/notesSlide25.xml"/><Relationship Id="rId9" Type="http://schemas.openxmlformats.org/officeDocument/2006/relationships/image" Target="../media/image147.jpe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8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emf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11" Type="http://schemas.openxmlformats.org/officeDocument/2006/relationships/image" Target="../media/image150.jpeg"/><Relationship Id="rId5" Type="http://schemas.openxmlformats.org/officeDocument/2006/relationships/oleObject" Target="../embeddings/oleObject24.bin"/><Relationship Id="rId10" Type="http://schemas.openxmlformats.org/officeDocument/2006/relationships/image" Target="../media/image48.png"/><Relationship Id="rId4" Type="http://schemas.openxmlformats.org/officeDocument/2006/relationships/notesSlide" Target="../notesSlides/notesSlide26.xml"/><Relationship Id="rId9" Type="http://schemas.openxmlformats.org/officeDocument/2006/relationships/image" Target="../media/image149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emf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10" Type="http://schemas.openxmlformats.org/officeDocument/2006/relationships/image" Target="../media/image152.jpeg"/><Relationship Id="rId4" Type="http://schemas.openxmlformats.org/officeDocument/2006/relationships/notesSlide" Target="../notesSlides/notesSlide27.xml"/><Relationship Id="rId9" Type="http://schemas.openxmlformats.org/officeDocument/2006/relationships/image" Target="../media/image151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jpeg"/><Relationship Id="rId13" Type="http://schemas.openxmlformats.org/officeDocument/2006/relationships/image" Target="../media/image44.png"/><Relationship Id="rId3" Type="http://schemas.openxmlformats.org/officeDocument/2006/relationships/image" Target="../media/image7.emf"/><Relationship Id="rId7" Type="http://schemas.openxmlformats.org/officeDocument/2006/relationships/image" Target="../media/image38.jpeg"/><Relationship Id="rId12" Type="http://schemas.openxmlformats.org/officeDocument/2006/relationships/image" Target="../media/image4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7.png"/><Relationship Id="rId11" Type="http://schemas.openxmlformats.org/officeDocument/2006/relationships/image" Target="../media/image42.jpeg"/><Relationship Id="rId5" Type="http://schemas.openxmlformats.org/officeDocument/2006/relationships/image" Target="../media/image36.jpeg"/><Relationship Id="rId10" Type="http://schemas.openxmlformats.org/officeDocument/2006/relationships/image" Target="../media/image41.jpeg"/><Relationship Id="rId4" Type="http://schemas.openxmlformats.org/officeDocument/2006/relationships/image" Target="../media/image35.jpeg"/><Relationship Id="rId9" Type="http://schemas.openxmlformats.org/officeDocument/2006/relationships/image" Target="../media/image40.jpeg"/><Relationship Id="rId14" Type="http://schemas.openxmlformats.org/officeDocument/2006/relationships/image" Target="../media/image45.jpe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2.xml"/><Relationship Id="rId7" Type="http://schemas.openxmlformats.org/officeDocument/2006/relationships/oleObject" Target="../embeddings/oleObject26.bin"/><Relationship Id="rId12" Type="http://schemas.openxmlformats.org/officeDocument/2006/relationships/image" Target="../media/image156.jpeg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54.jpeg"/><Relationship Id="rId11" Type="http://schemas.openxmlformats.org/officeDocument/2006/relationships/image" Target="../media/image89.png"/><Relationship Id="rId5" Type="http://schemas.openxmlformats.org/officeDocument/2006/relationships/image" Target="../media/image153.jpeg"/><Relationship Id="rId10" Type="http://schemas.openxmlformats.org/officeDocument/2006/relationships/image" Target="../media/image155.jpeg"/><Relationship Id="rId4" Type="http://schemas.openxmlformats.org/officeDocument/2006/relationships/notesSlide" Target="../notesSlides/notesSlide28.xml"/><Relationship Id="rId9" Type="http://schemas.openxmlformats.org/officeDocument/2006/relationships/image" Target="../media/image7.emf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emf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27.bin"/><Relationship Id="rId11" Type="http://schemas.openxmlformats.org/officeDocument/2006/relationships/image" Target="../media/image159.jpeg"/><Relationship Id="rId5" Type="http://schemas.openxmlformats.org/officeDocument/2006/relationships/image" Target="../media/image157.jpeg"/><Relationship Id="rId10" Type="http://schemas.openxmlformats.org/officeDocument/2006/relationships/image" Target="../media/image147.jpeg"/><Relationship Id="rId4" Type="http://schemas.openxmlformats.org/officeDocument/2006/relationships/notesSlide" Target="../notesSlides/notesSlide29.xml"/><Relationship Id="rId9" Type="http://schemas.openxmlformats.org/officeDocument/2006/relationships/image" Target="../media/image158.jpe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0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emf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10" Type="http://schemas.openxmlformats.org/officeDocument/2006/relationships/image" Target="../media/image162.png"/><Relationship Id="rId4" Type="http://schemas.openxmlformats.org/officeDocument/2006/relationships/notesSlide" Target="../notesSlides/notesSlide30.xml"/><Relationship Id="rId9" Type="http://schemas.openxmlformats.org/officeDocument/2006/relationships/image" Target="../media/image161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3.gi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emf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10" Type="http://schemas.openxmlformats.org/officeDocument/2006/relationships/image" Target="../media/image165.jpeg"/><Relationship Id="rId4" Type="http://schemas.openxmlformats.org/officeDocument/2006/relationships/notesSlide" Target="../notesSlides/notesSlide31.xml"/><Relationship Id="rId9" Type="http://schemas.openxmlformats.org/officeDocument/2006/relationships/image" Target="../media/image164.jpe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6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emf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10" Type="http://schemas.openxmlformats.org/officeDocument/2006/relationships/image" Target="../media/image168.gif"/><Relationship Id="rId4" Type="http://schemas.openxmlformats.org/officeDocument/2006/relationships/notesSlide" Target="../notesSlides/notesSlide32.xml"/><Relationship Id="rId9" Type="http://schemas.openxmlformats.org/officeDocument/2006/relationships/image" Target="../media/image167.jpe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9.jp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emf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10" Type="http://schemas.openxmlformats.org/officeDocument/2006/relationships/image" Target="../media/image171.gif"/><Relationship Id="rId4" Type="http://schemas.openxmlformats.org/officeDocument/2006/relationships/notesSlide" Target="../notesSlides/notesSlide33.xml"/><Relationship Id="rId9" Type="http://schemas.openxmlformats.org/officeDocument/2006/relationships/image" Target="../media/image170.jp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2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emf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notesSlide" Target="../notesSlides/notesSlide34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3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emf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10" Type="http://schemas.openxmlformats.org/officeDocument/2006/relationships/image" Target="../media/image175.jpeg"/><Relationship Id="rId4" Type="http://schemas.openxmlformats.org/officeDocument/2006/relationships/notesSlide" Target="../notesSlides/notesSlide35.xml"/><Relationship Id="rId9" Type="http://schemas.openxmlformats.org/officeDocument/2006/relationships/image" Target="../media/image174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6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emf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10" Type="http://schemas.openxmlformats.org/officeDocument/2006/relationships/image" Target="../media/image177.emf"/><Relationship Id="rId4" Type="http://schemas.openxmlformats.org/officeDocument/2006/relationships/notesSlide" Target="../notesSlides/notesSlide36.xml"/><Relationship Id="rId9" Type="http://schemas.openxmlformats.org/officeDocument/2006/relationships/image" Target="../media/image144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hyperlink" Target="https://shop.prosv.ru/katalog#/orderby=5&amp;sFilters=13!67611;" TargetMode="External"/><Relationship Id="rId13" Type="http://schemas.openxmlformats.org/officeDocument/2006/relationships/image" Target="../media/image180.png"/><Relationship Id="rId18" Type="http://schemas.openxmlformats.org/officeDocument/2006/relationships/image" Target="../media/image183.png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shop.prosv.ru/katalog#/orderby=5&amp;sFilters=13!81288;" TargetMode="External"/><Relationship Id="rId12" Type="http://schemas.openxmlformats.org/officeDocument/2006/relationships/image" Target="../media/image179.jpeg"/><Relationship Id="rId17" Type="http://schemas.openxmlformats.org/officeDocument/2006/relationships/hyperlink" Target="https://prosv.ru/pages/pisa.html" TargetMode="External"/><Relationship Id="rId2" Type="http://schemas.openxmlformats.org/officeDocument/2006/relationships/tags" Target="../tags/tag36.xml"/><Relationship Id="rId16" Type="http://schemas.openxmlformats.org/officeDocument/2006/relationships/hyperlink" Target="https://media.prosv.ru/content/?situations=true" TargetMode="Externa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11" Type="http://schemas.openxmlformats.org/officeDocument/2006/relationships/image" Target="../media/image178.png"/><Relationship Id="rId5" Type="http://schemas.openxmlformats.org/officeDocument/2006/relationships/oleObject" Target="../embeddings/oleObject35.bin"/><Relationship Id="rId15" Type="http://schemas.openxmlformats.org/officeDocument/2006/relationships/image" Target="../media/image182.png"/><Relationship Id="rId10" Type="http://schemas.openxmlformats.org/officeDocument/2006/relationships/hyperlink" Target="https://shop.prosv.ru/katalog#/orderby=5&amp;sFilters=13!3000;" TargetMode="External"/><Relationship Id="rId19" Type="http://schemas.openxmlformats.org/officeDocument/2006/relationships/image" Target="../media/image184.gif"/><Relationship Id="rId4" Type="http://schemas.openxmlformats.org/officeDocument/2006/relationships/notesSlide" Target="../notesSlides/notesSlide37.xml"/><Relationship Id="rId9" Type="http://schemas.openxmlformats.org/officeDocument/2006/relationships/hyperlink" Target="https://shop.prosv.ru/katalog#/orderby=5&amp;sFilters=13!2969,101891;" TargetMode="External"/><Relationship Id="rId14" Type="http://schemas.openxmlformats.org/officeDocument/2006/relationships/image" Target="../media/image18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7.png"/><Relationship Id="rId5" Type="http://schemas.openxmlformats.org/officeDocument/2006/relationships/hyperlink" Target="http://www.instrao.ru/primer" TargetMode="External"/><Relationship Id="rId4" Type="http://schemas.openxmlformats.org/officeDocument/2006/relationships/image" Target="../media/image46.png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5.png"/><Relationship Id="rId13" Type="http://schemas.openxmlformats.org/officeDocument/2006/relationships/image" Target="../media/image19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emf"/><Relationship Id="rId12" Type="http://schemas.openxmlformats.org/officeDocument/2006/relationships/image" Target="../media/image189.jpeg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.emf"/><Relationship Id="rId11" Type="http://schemas.openxmlformats.org/officeDocument/2006/relationships/image" Target="../media/image188.gif"/><Relationship Id="rId5" Type="http://schemas.openxmlformats.org/officeDocument/2006/relationships/oleObject" Target="../embeddings/oleObject36.bin"/><Relationship Id="rId10" Type="http://schemas.openxmlformats.org/officeDocument/2006/relationships/image" Target="../media/image187.jpeg"/><Relationship Id="rId4" Type="http://schemas.openxmlformats.org/officeDocument/2006/relationships/notesSlide" Target="../notesSlides/notesSlide38.xml"/><Relationship Id="rId9" Type="http://schemas.openxmlformats.org/officeDocument/2006/relationships/image" Target="../media/image186.jpe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1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emf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.bin"/><Relationship Id="rId10" Type="http://schemas.openxmlformats.org/officeDocument/2006/relationships/image" Target="../media/image193.gif"/><Relationship Id="rId4" Type="http://schemas.openxmlformats.org/officeDocument/2006/relationships/notesSlide" Target="../notesSlides/notesSlide39.xml"/><Relationship Id="rId9" Type="http://schemas.openxmlformats.org/officeDocument/2006/relationships/image" Target="../media/image192.jpeg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4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emf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notesSlide" Target="../notesSlides/notesSlide40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5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emf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notesSlide" Target="../notesSlides/notesSlide41.xml"/><Relationship Id="rId9" Type="http://schemas.openxmlformats.org/officeDocument/2006/relationships/image" Target="../media/image196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7.png"/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12.xm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hyperlink" Target="mailto:vopros@prosv.ru" TargetMode="External"/><Relationship Id="rId3" Type="http://schemas.openxmlformats.org/officeDocument/2006/relationships/tags" Target="../tags/tag42.xml"/><Relationship Id="rId7" Type="http://schemas.openxmlformats.org/officeDocument/2006/relationships/image" Target="../media/image1.emf"/><Relationship Id="rId12" Type="http://schemas.openxmlformats.org/officeDocument/2006/relationships/hyperlink" Target="https://vk.com/geodistantprosv" TargetMode="Externa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6" Type="http://schemas.openxmlformats.org/officeDocument/2006/relationships/oleObject" Target="../embeddings/oleObject40.bin"/><Relationship Id="rId11" Type="http://schemas.openxmlformats.org/officeDocument/2006/relationships/hyperlink" Target="https://cloud.prosv.ru/s/NGiXx7Kk2Aor7se" TargetMode="External"/><Relationship Id="rId5" Type="http://schemas.openxmlformats.org/officeDocument/2006/relationships/notesSlide" Target="../notesSlides/notesSlide42.xml"/><Relationship Id="rId10" Type="http://schemas.openxmlformats.org/officeDocument/2006/relationships/image" Target="../media/image198.gif"/><Relationship Id="rId4" Type="http://schemas.openxmlformats.org/officeDocument/2006/relationships/slideLayout" Target="../slideLayouts/slideLayout1.xml"/><Relationship Id="rId9" Type="http://schemas.openxmlformats.org/officeDocument/2006/relationships/hyperlink" Target="https://shop.prosv.ru/formirovanie-funkcionalnoj-gramotnosti-sbornik-zadach-po-russkomu-yazyku-dlya-8-11-klassov2781" TargetMode="Externa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13" Type="http://schemas.openxmlformats.org/officeDocument/2006/relationships/hyperlink" Target="https://yadi.sk/d/VPj3WY95xMTOzw" TargetMode="Externa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emf"/><Relationship Id="rId12" Type="http://schemas.openxmlformats.org/officeDocument/2006/relationships/hyperlink" Target="https://yadi.sk/d/LNlprfCs4XHpyg" TargetMode="Externa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11" Type="http://schemas.openxmlformats.org/officeDocument/2006/relationships/image" Target="../media/image44.png"/><Relationship Id="rId5" Type="http://schemas.openxmlformats.org/officeDocument/2006/relationships/oleObject" Target="../embeddings/oleObject2.bin"/><Relationship Id="rId15" Type="http://schemas.openxmlformats.org/officeDocument/2006/relationships/image" Target="../media/image48.png"/><Relationship Id="rId10" Type="http://schemas.openxmlformats.org/officeDocument/2006/relationships/image" Target="../media/image43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31.png"/><Relationship Id="rId14" Type="http://schemas.openxmlformats.org/officeDocument/2006/relationships/hyperlink" Target="https://yadi.sk/d/6kfkuchq8c3afA%20-%205-6" TargetMode="Externa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13" Type="http://schemas.openxmlformats.org/officeDocument/2006/relationships/image" Target="../media/image5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0.jpeg"/><Relationship Id="rId12" Type="http://schemas.openxmlformats.org/officeDocument/2006/relationships/image" Target="../media/image52.jpeg"/><Relationship Id="rId17" Type="http://schemas.openxmlformats.org/officeDocument/2006/relationships/hyperlink" Target="https://cloud.prosv.ru/s/NGiXx7Kk2Aor7se" TargetMode="External"/><Relationship Id="rId2" Type="http://schemas.openxmlformats.org/officeDocument/2006/relationships/tags" Target="../tags/tag4.xml"/><Relationship Id="rId16" Type="http://schemas.openxmlformats.org/officeDocument/2006/relationships/image" Target="../media/image56.gif"/><Relationship Id="rId1" Type="http://schemas.openxmlformats.org/officeDocument/2006/relationships/vmlDrawing" Target="../drawings/vmlDrawing3.vml"/><Relationship Id="rId6" Type="http://schemas.openxmlformats.org/officeDocument/2006/relationships/image" Target="../media/image33.png"/><Relationship Id="rId11" Type="http://schemas.openxmlformats.org/officeDocument/2006/relationships/image" Target="../media/image51.png"/><Relationship Id="rId5" Type="http://schemas.openxmlformats.org/officeDocument/2006/relationships/image" Target="../media/image49.jpeg"/><Relationship Id="rId15" Type="http://schemas.openxmlformats.org/officeDocument/2006/relationships/image" Target="../media/image55.jpeg"/><Relationship Id="rId10" Type="http://schemas.openxmlformats.org/officeDocument/2006/relationships/image" Target="../media/image7.emf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.emf"/><Relationship Id="rId14" Type="http://schemas.openxmlformats.org/officeDocument/2006/relationships/image" Target="../media/image5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e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11" Type="http://schemas.openxmlformats.org/officeDocument/2006/relationships/image" Target="../media/image60.pn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59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58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emf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10" Type="http://schemas.openxmlformats.org/officeDocument/2006/relationships/image" Target="../media/image36.jpe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62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image" Target="../media/image68.png"/><Relationship Id="rId3" Type="http://schemas.openxmlformats.org/officeDocument/2006/relationships/slideLayout" Target="../slideLayouts/slideLayout2.xml"/><Relationship Id="rId7" Type="http://schemas.openxmlformats.org/officeDocument/2006/relationships/oleObject" Target="../embeddings/oleObject6.bin"/><Relationship Id="rId12" Type="http://schemas.openxmlformats.org/officeDocument/2006/relationships/image" Target="../media/image67.png"/><Relationship Id="rId17" Type="http://schemas.openxmlformats.org/officeDocument/2006/relationships/image" Target="../media/image72.png"/><Relationship Id="rId2" Type="http://schemas.openxmlformats.org/officeDocument/2006/relationships/tags" Target="../tags/tag7.xml"/><Relationship Id="rId16" Type="http://schemas.openxmlformats.org/officeDocument/2006/relationships/image" Target="../media/image71.png"/><Relationship Id="rId1" Type="http://schemas.openxmlformats.org/officeDocument/2006/relationships/vmlDrawing" Target="../drawings/vmlDrawing6.vml"/><Relationship Id="rId6" Type="http://schemas.openxmlformats.org/officeDocument/2006/relationships/image" Target="../media/image64.png"/><Relationship Id="rId11" Type="http://schemas.openxmlformats.org/officeDocument/2006/relationships/image" Target="../media/image66.png"/><Relationship Id="rId5" Type="http://schemas.openxmlformats.org/officeDocument/2006/relationships/image" Target="../media/image63.png"/><Relationship Id="rId15" Type="http://schemas.openxmlformats.org/officeDocument/2006/relationships/image" Target="../media/image70.png"/><Relationship Id="rId10" Type="http://schemas.openxmlformats.org/officeDocument/2006/relationships/image" Target="../media/image65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7.emf"/><Relationship Id="rId14" Type="http://schemas.openxmlformats.org/officeDocument/2006/relationships/image" Target="../media/image6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5"/>
          <p:cNvSpPr>
            <a:spLocks noChangeArrowheads="1"/>
          </p:cNvSpPr>
          <p:nvPr/>
        </p:nvSpPr>
        <p:spPr bwMode="auto">
          <a:xfrm>
            <a:off x="-1" y="8533"/>
            <a:ext cx="12192001" cy="6849467"/>
          </a:xfrm>
          <a:prstGeom prst="rect">
            <a:avLst/>
          </a:prstGeom>
          <a:solidFill>
            <a:srgbClr val="F0F8F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Прямоугольник 95"/>
          <p:cNvSpPr/>
          <p:nvPr/>
        </p:nvSpPr>
        <p:spPr>
          <a:xfrm>
            <a:off x="78605" y="4097378"/>
            <a:ext cx="11819633" cy="211223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29" name="Rectangle 7"/>
          <p:cNvSpPr>
            <a:spLocks noChangeArrowheads="1"/>
          </p:cNvSpPr>
          <p:nvPr/>
        </p:nvSpPr>
        <p:spPr bwMode="auto">
          <a:xfrm>
            <a:off x="7573455" y="2669879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0" name="Rectangle 8"/>
          <p:cNvSpPr>
            <a:spLocks noChangeArrowheads="1"/>
          </p:cNvSpPr>
          <p:nvPr/>
        </p:nvSpPr>
        <p:spPr bwMode="auto">
          <a:xfrm>
            <a:off x="4618544" y="203633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1" name="Rectangle 9"/>
          <p:cNvSpPr>
            <a:spLocks noChangeArrowheads="1"/>
          </p:cNvSpPr>
          <p:nvPr/>
        </p:nvSpPr>
        <p:spPr bwMode="auto">
          <a:xfrm>
            <a:off x="10528363" y="2669879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7573455" y="1436757"/>
            <a:ext cx="1477453" cy="1233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3" name="Rectangle 11"/>
          <p:cNvSpPr>
            <a:spLocks noChangeArrowheads="1"/>
          </p:cNvSpPr>
          <p:nvPr/>
        </p:nvSpPr>
        <p:spPr bwMode="auto">
          <a:xfrm>
            <a:off x="3141091" y="203633"/>
            <a:ext cx="1477453" cy="1233124"/>
          </a:xfrm>
          <a:prstGeom prst="rect">
            <a:avLst/>
          </a:prstGeom>
          <a:solidFill>
            <a:srgbClr val="5471A9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4" name="Rectangle 12"/>
          <p:cNvSpPr>
            <a:spLocks noChangeArrowheads="1"/>
          </p:cNvSpPr>
          <p:nvPr/>
        </p:nvSpPr>
        <p:spPr bwMode="auto">
          <a:xfrm>
            <a:off x="6096002" y="203633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5" name="Rectangle 13"/>
          <p:cNvSpPr>
            <a:spLocks noChangeArrowheads="1"/>
          </p:cNvSpPr>
          <p:nvPr/>
        </p:nvSpPr>
        <p:spPr bwMode="auto">
          <a:xfrm>
            <a:off x="10528363" y="203633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6" name="Rectangle 14"/>
          <p:cNvSpPr>
            <a:spLocks noChangeArrowheads="1"/>
          </p:cNvSpPr>
          <p:nvPr/>
        </p:nvSpPr>
        <p:spPr bwMode="auto">
          <a:xfrm>
            <a:off x="9050908" y="1436757"/>
            <a:ext cx="1477453" cy="1233124"/>
          </a:xfrm>
          <a:prstGeom prst="rect">
            <a:avLst/>
          </a:prstGeom>
          <a:solidFill>
            <a:srgbClr val="4383DD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7" name="Rectangle 15"/>
          <p:cNvSpPr>
            <a:spLocks noChangeArrowheads="1"/>
          </p:cNvSpPr>
          <p:nvPr/>
        </p:nvSpPr>
        <p:spPr bwMode="auto">
          <a:xfrm>
            <a:off x="186183" y="203633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8" name="Rectangle 16"/>
          <p:cNvSpPr>
            <a:spLocks noChangeArrowheads="1"/>
          </p:cNvSpPr>
          <p:nvPr/>
        </p:nvSpPr>
        <p:spPr bwMode="auto">
          <a:xfrm>
            <a:off x="7573455" y="203633"/>
            <a:ext cx="2954908" cy="1233124"/>
          </a:xfrm>
          <a:prstGeom prst="rect">
            <a:avLst/>
          </a:prstGeom>
          <a:solidFill>
            <a:srgbClr val="2D2B8D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9" name="Rectangle 17"/>
          <p:cNvSpPr>
            <a:spLocks noChangeArrowheads="1"/>
          </p:cNvSpPr>
          <p:nvPr/>
        </p:nvSpPr>
        <p:spPr bwMode="auto">
          <a:xfrm>
            <a:off x="186183" y="2669879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8"/>
          <p:cNvSpPr>
            <a:spLocks noChangeArrowheads="1"/>
          </p:cNvSpPr>
          <p:nvPr/>
        </p:nvSpPr>
        <p:spPr bwMode="auto">
          <a:xfrm>
            <a:off x="3141091" y="2669879"/>
            <a:ext cx="1477453" cy="1233124"/>
          </a:xfrm>
          <a:prstGeom prst="rect">
            <a:avLst/>
          </a:prstGeom>
          <a:solidFill>
            <a:srgbClr val="5471A9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9"/>
          <p:cNvSpPr>
            <a:spLocks noChangeArrowheads="1"/>
          </p:cNvSpPr>
          <p:nvPr/>
        </p:nvSpPr>
        <p:spPr bwMode="auto">
          <a:xfrm>
            <a:off x="6096002" y="1436757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2" name="Rectangle 20"/>
          <p:cNvSpPr>
            <a:spLocks noChangeArrowheads="1"/>
          </p:cNvSpPr>
          <p:nvPr/>
        </p:nvSpPr>
        <p:spPr bwMode="auto">
          <a:xfrm>
            <a:off x="10528363" y="1436757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3" name="Rectangle 21"/>
          <p:cNvSpPr>
            <a:spLocks noChangeArrowheads="1"/>
          </p:cNvSpPr>
          <p:nvPr/>
        </p:nvSpPr>
        <p:spPr bwMode="auto">
          <a:xfrm>
            <a:off x="4618544" y="1436757"/>
            <a:ext cx="1477453" cy="1233124"/>
          </a:xfrm>
          <a:prstGeom prst="rect">
            <a:avLst/>
          </a:prstGeom>
          <a:solidFill>
            <a:srgbClr val="40A7E1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22"/>
          <p:cNvSpPr>
            <a:spLocks noChangeArrowheads="1"/>
          </p:cNvSpPr>
          <p:nvPr/>
        </p:nvSpPr>
        <p:spPr bwMode="auto">
          <a:xfrm>
            <a:off x="3141091" y="1436757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5" name="Rectangle 23"/>
          <p:cNvSpPr>
            <a:spLocks noChangeArrowheads="1"/>
          </p:cNvSpPr>
          <p:nvPr/>
        </p:nvSpPr>
        <p:spPr bwMode="auto">
          <a:xfrm>
            <a:off x="1663636" y="2669879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24"/>
          <p:cNvSpPr>
            <a:spLocks noChangeArrowheads="1"/>
          </p:cNvSpPr>
          <p:nvPr/>
        </p:nvSpPr>
        <p:spPr bwMode="auto">
          <a:xfrm>
            <a:off x="1663636" y="203633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7" name="Rectangle 25"/>
          <p:cNvSpPr>
            <a:spLocks noChangeArrowheads="1"/>
          </p:cNvSpPr>
          <p:nvPr/>
        </p:nvSpPr>
        <p:spPr bwMode="auto">
          <a:xfrm>
            <a:off x="1663636" y="1436757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6"/>
          <p:cNvSpPr>
            <a:spLocks noChangeArrowheads="1"/>
          </p:cNvSpPr>
          <p:nvPr/>
        </p:nvSpPr>
        <p:spPr bwMode="auto">
          <a:xfrm>
            <a:off x="4618544" y="2669879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7"/>
          <p:cNvSpPr>
            <a:spLocks noChangeArrowheads="1"/>
          </p:cNvSpPr>
          <p:nvPr/>
        </p:nvSpPr>
        <p:spPr bwMode="auto">
          <a:xfrm>
            <a:off x="6096002" y="2669879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0" name="Rectangle 28"/>
          <p:cNvSpPr>
            <a:spLocks noChangeArrowheads="1"/>
          </p:cNvSpPr>
          <p:nvPr/>
        </p:nvSpPr>
        <p:spPr bwMode="auto">
          <a:xfrm>
            <a:off x="9050908" y="2669879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1" name="Rectangle 29"/>
          <p:cNvSpPr>
            <a:spLocks noChangeArrowheads="1"/>
          </p:cNvSpPr>
          <p:nvPr/>
        </p:nvSpPr>
        <p:spPr bwMode="auto">
          <a:xfrm>
            <a:off x="186183" y="1436757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2" name="Freeform 30"/>
          <p:cNvSpPr>
            <a:spLocks noEditPoints="1"/>
          </p:cNvSpPr>
          <p:nvPr/>
        </p:nvSpPr>
        <p:spPr bwMode="auto">
          <a:xfrm>
            <a:off x="10963791" y="3056737"/>
            <a:ext cx="606596" cy="489249"/>
          </a:xfrm>
          <a:custGeom>
            <a:avLst/>
            <a:gdLst>
              <a:gd name="T0" fmla="*/ 442 w 884"/>
              <a:gd name="T1" fmla="*/ 286 h 711"/>
              <a:gd name="T2" fmla="*/ 334 w 884"/>
              <a:gd name="T3" fmla="*/ 179 h 711"/>
              <a:gd name="T4" fmla="*/ 442 w 884"/>
              <a:gd name="T5" fmla="*/ 71 h 711"/>
              <a:gd name="T6" fmla="*/ 549 w 884"/>
              <a:gd name="T7" fmla="*/ 179 h 711"/>
              <a:gd name="T8" fmla="*/ 442 w 884"/>
              <a:gd name="T9" fmla="*/ 286 h 711"/>
              <a:gd name="T10" fmla="*/ 442 w 884"/>
              <a:gd name="T11" fmla="*/ 0 h 711"/>
              <a:gd name="T12" fmla="*/ 263 w 884"/>
              <a:gd name="T13" fmla="*/ 179 h 711"/>
              <a:gd name="T14" fmla="*/ 442 w 884"/>
              <a:gd name="T15" fmla="*/ 358 h 711"/>
              <a:gd name="T16" fmla="*/ 514 w 884"/>
              <a:gd name="T17" fmla="*/ 343 h 711"/>
              <a:gd name="T18" fmla="*/ 514 w 884"/>
              <a:gd name="T19" fmla="*/ 577 h 711"/>
              <a:gd name="T20" fmla="*/ 442 w 884"/>
              <a:gd name="T21" fmla="*/ 529 h 711"/>
              <a:gd name="T22" fmla="*/ 370 w 884"/>
              <a:gd name="T23" fmla="*/ 577 h 711"/>
              <a:gd name="T24" fmla="*/ 370 w 884"/>
              <a:gd name="T25" fmla="*/ 391 h 711"/>
              <a:gd name="T26" fmla="*/ 299 w 884"/>
              <a:gd name="T27" fmla="*/ 391 h 711"/>
              <a:gd name="T28" fmla="*/ 299 w 884"/>
              <a:gd name="T29" fmla="*/ 711 h 711"/>
              <a:gd name="T30" fmla="*/ 442 w 884"/>
              <a:gd name="T31" fmla="*/ 616 h 711"/>
              <a:gd name="T32" fmla="*/ 585 w 884"/>
              <a:gd name="T33" fmla="*/ 711 h 711"/>
              <a:gd name="T34" fmla="*/ 585 w 884"/>
              <a:gd name="T35" fmla="*/ 285 h 711"/>
              <a:gd name="T36" fmla="*/ 621 w 884"/>
              <a:gd name="T37" fmla="*/ 179 h 711"/>
              <a:gd name="T38" fmla="*/ 442 w 884"/>
              <a:gd name="T39" fmla="*/ 0 h 711"/>
              <a:gd name="T40" fmla="*/ 836 w 884"/>
              <a:gd name="T41" fmla="*/ 36 h 711"/>
              <a:gd name="T42" fmla="*/ 662 w 884"/>
              <a:gd name="T43" fmla="*/ 60 h 711"/>
              <a:gd name="T44" fmla="*/ 687 w 884"/>
              <a:gd name="T45" fmla="*/ 130 h 711"/>
              <a:gd name="T46" fmla="*/ 789 w 884"/>
              <a:gd name="T47" fmla="*/ 116 h 711"/>
              <a:gd name="T48" fmla="*/ 789 w 884"/>
              <a:gd name="T49" fmla="*/ 277 h 711"/>
              <a:gd name="T50" fmla="*/ 678 w 884"/>
              <a:gd name="T51" fmla="*/ 262 h 711"/>
              <a:gd name="T52" fmla="*/ 641 w 884"/>
              <a:gd name="T53" fmla="*/ 330 h 711"/>
              <a:gd name="T54" fmla="*/ 836 w 884"/>
              <a:gd name="T55" fmla="*/ 358 h 711"/>
              <a:gd name="T56" fmla="*/ 836 w 884"/>
              <a:gd name="T57" fmla="*/ 36 h 711"/>
              <a:gd name="T58" fmla="*/ 95 w 884"/>
              <a:gd name="T59" fmla="*/ 277 h 711"/>
              <a:gd name="T60" fmla="*/ 95 w 884"/>
              <a:gd name="T61" fmla="*/ 116 h 711"/>
              <a:gd name="T62" fmla="*/ 196 w 884"/>
              <a:gd name="T63" fmla="*/ 130 h 711"/>
              <a:gd name="T64" fmla="*/ 221 w 884"/>
              <a:gd name="T65" fmla="*/ 60 h 711"/>
              <a:gd name="T66" fmla="*/ 48 w 884"/>
              <a:gd name="T67" fmla="*/ 35 h 711"/>
              <a:gd name="T68" fmla="*/ 48 w 884"/>
              <a:gd name="T69" fmla="*/ 358 h 711"/>
              <a:gd name="T70" fmla="*/ 243 w 884"/>
              <a:gd name="T71" fmla="*/ 331 h 711"/>
              <a:gd name="T72" fmla="*/ 206 w 884"/>
              <a:gd name="T73" fmla="*/ 263 h 711"/>
              <a:gd name="T74" fmla="*/ 95 w 884"/>
              <a:gd name="T75" fmla="*/ 277 h 7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884" h="711">
                <a:moveTo>
                  <a:pt x="442" y="286"/>
                </a:moveTo>
                <a:cubicBezTo>
                  <a:pt x="382" y="286"/>
                  <a:pt x="334" y="238"/>
                  <a:pt x="334" y="179"/>
                </a:cubicBezTo>
                <a:cubicBezTo>
                  <a:pt x="334" y="120"/>
                  <a:pt x="382" y="71"/>
                  <a:pt x="442" y="71"/>
                </a:cubicBezTo>
                <a:cubicBezTo>
                  <a:pt x="501" y="71"/>
                  <a:pt x="549" y="120"/>
                  <a:pt x="549" y="179"/>
                </a:cubicBezTo>
                <a:cubicBezTo>
                  <a:pt x="549" y="238"/>
                  <a:pt x="501" y="286"/>
                  <a:pt x="442" y="286"/>
                </a:cubicBezTo>
                <a:close/>
                <a:moveTo>
                  <a:pt x="442" y="0"/>
                </a:moveTo>
                <a:cubicBezTo>
                  <a:pt x="343" y="0"/>
                  <a:pt x="263" y="80"/>
                  <a:pt x="263" y="179"/>
                </a:cubicBezTo>
                <a:cubicBezTo>
                  <a:pt x="263" y="277"/>
                  <a:pt x="343" y="358"/>
                  <a:pt x="442" y="358"/>
                </a:cubicBezTo>
                <a:cubicBezTo>
                  <a:pt x="467" y="358"/>
                  <a:pt x="478" y="352"/>
                  <a:pt x="514" y="343"/>
                </a:cubicBezTo>
                <a:lnTo>
                  <a:pt x="514" y="577"/>
                </a:lnTo>
                <a:lnTo>
                  <a:pt x="442" y="529"/>
                </a:lnTo>
                <a:lnTo>
                  <a:pt x="370" y="577"/>
                </a:lnTo>
                <a:lnTo>
                  <a:pt x="370" y="391"/>
                </a:lnTo>
                <a:lnTo>
                  <a:pt x="299" y="391"/>
                </a:lnTo>
                <a:lnTo>
                  <a:pt x="299" y="711"/>
                </a:lnTo>
                <a:lnTo>
                  <a:pt x="442" y="616"/>
                </a:lnTo>
                <a:lnTo>
                  <a:pt x="585" y="711"/>
                </a:lnTo>
                <a:lnTo>
                  <a:pt x="585" y="285"/>
                </a:lnTo>
                <a:cubicBezTo>
                  <a:pt x="621" y="255"/>
                  <a:pt x="621" y="219"/>
                  <a:pt x="621" y="179"/>
                </a:cubicBezTo>
                <a:cubicBezTo>
                  <a:pt x="621" y="80"/>
                  <a:pt x="540" y="0"/>
                  <a:pt x="442" y="0"/>
                </a:cubicBezTo>
                <a:close/>
                <a:moveTo>
                  <a:pt x="836" y="36"/>
                </a:moveTo>
                <a:cubicBezTo>
                  <a:pt x="778" y="46"/>
                  <a:pt x="720" y="54"/>
                  <a:pt x="662" y="60"/>
                </a:cubicBezTo>
                <a:cubicBezTo>
                  <a:pt x="674" y="82"/>
                  <a:pt x="683" y="105"/>
                  <a:pt x="687" y="130"/>
                </a:cubicBezTo>
                <a:cubicBezTo>
                  <a:pt x="721" y="126"/>
                  <a:pt x="756" y="121"/>
                  <a:pt x="789" y="116"/>
                </a:cubicBezTo>
                <a:cubicBezTo>
                  <a:pt x="804" y="169"/>
                  <a:pt x="804" y="224"/>
                  <a:pt x="789" y="277"/>
                </a:cubicBezTo>
                <a:cubicBezTo>
                  <a:pt x="752" y="271"/>
                  <a:pt x="715" y="266"/>
                  <a:pt x="678" y="262"/>
                </a:cubicBezTo>
                <a:cubicBezTo>
                  <a:pt x="669" y="287"/>
                  <a:pt x="656" y="310"/>
                  <a:pt x="641" y="330"/>
                </a:cubicBezTo>
                <a:cubicBezTo>
                  <a:pt x="706" y="336"/>
                  <a:pt x="771" y="346"/>
                  <a:pt x="836" y="358"/>
                </a:cubicBezTo>
                <a:cubicBezTo>
                  <a:pt x="883" y="258"/>
                  <a:pt x="884" y="138"/>
                  <a:pt x="836" y="36"/>
                </a:cubicBezTo>
                <a:close/>
                <a:moveTo>
                  <a:pt x="95" y="277"/>
                </a:moveTo>
                <a:cubicBezTo>
                  <a:pt x="81" y="225"/>
                  <a:pt x="81" y="170"/>
                  <a:pt x="95" y="116"/>
                </a:cubicBezTo>
                <a:cubicBezTo>
                  <a:pt x="129" y="122"/>
                  <a:pt x="162" y="126"/>
                  <a:pt x="196" y="130"/>
                </a:cubicBezTo>
                <a:cubicBezTo>
                  <a:pt x="201" y="105"/>
                  <a:pt x="209" y="82"/>
                  <a:pt x="221" y="60"/>
                </a:cubicBezTo>
                <a:cubicBezTo>
                  <a:pt x="163" y="54"/>
                  <a:pt x="105" y="46"/>
                  <a:pt x="48" y="35"/>
                </a:cubicBezTo>
                <a:cubicBezTo>
                  <a:pt x="3" y="140"/>
                  <a:pt x="0" y="255"/>
                  <a:pt x="48" y="358"/>
                </a:cubicBezTo>
                <a:cubicBezTo>
                  <a:pt x="112" y="346"/>
                  <a:pt x="178" y="337"/>
                  <a:pt x="243" y="331"/>
                </a:cubicBezTo>
                <a:cubicBezTo>
                  <a:pt x="227" y="310"/>
                  <a:pt x="215" y="287"/>
                  <a:pt x="206" y="263"/>
                </a:cubicBezTo>
                <a:cubicBezTo>
                  <a:pt x="169" y="267"/>
                  <a:pt x="132" y="271"/>
                  <a:pt x="95" y="27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3" name="Freeform 31"/>
          <p:cNvSpPr>
            <a:spLocks noEditPoints="1"/>
          </p:cNvSpPr>
          <p:nvPr/>
        </p:nvSpPr>
        <p:spPr bwMode="auto">
          <a:xfrm>
            <a:off x="5062984" y="3029721"/>
            <a:ext cx="591581" cy="567288"/>
          </a:xfrm>
          <a:custGeom>
            <a:avLst/>
            <a:gdLst>
              <a:gd name="T0" fmla="*/ 466 w 860"/>
              <a:gd name="T1" fmla="*/ 465 h 823"/>
              <a:gd name="T2" fmla="*/ 394 w 860"/>
              <a:gd name="T3" fmla="*/ 393 h 823"/>
              <a:gd name="T4" fmla="*/ 537 w 860"/>
              <a:gd name="T5" fmla="*/ 716 h 823"/>
              <a:gd name="T6" fmla="*/ 609 w 860"/>
              <a:gd name="T7" fmla="*/ 644 h 823"/>
              <a:gd name="T8" fmla="*/ 537 w 860"/>
              <a:gd name="T9" fmla="*/ 716 h 823"/>
              <a:gd name="T10" fmla="*/ 609 w 860"/>
              <a:gd name="T11" fmla="*/ 608 h 823"/>
              <a:gd name="T12" fmla="*/ 537 w 860"/>
              <a:gd name="T13" fmla="*/ 537 h 823"/>
              <a:gd name="T14" fmla="*/ 716 w 860"/>
              <a:gd name="T15" fmla="*/ 644 h 823"/>
              <a:gd name="T16" fmla="*/ 645 w 860"/>
              <a:gd name="T17" fmla="*/ 716 h 823"/>
              <a:gd name="T18" fmla="*/ 716 w 860"/>
              <a:gd name="T19" fmla="*/ 644 h 823"/>
              <a:gd name="T20" fmla="*/ 645 w 860"/>
              <a:gd name="T21" fmla="*/ 537 h 823"/>
              <a:gd name="T22" fmla="*/ 716 w 860"/>
              <a:gd name="T23" fmla="*/ 608 h 823"/>
              <a:gd name="T24" fmla="*/ 251 w 860"/>
              <a:gd name="T25" fmla="*/ 716 h 823"/>
              <a:gd name="T26" fmla="*/ 322 w 860"/>
              <a:gd name="T27" fmla="*/ 644 h 823"/>
              <a:gd name="T28" fmla="*/ 251 w 860"/>
              <a:gd name="T29" fmla="*/ 716 h 823"/>
              <a:gd name="T30" fmla="*/ 322 w 860"/>
              <a:gd name="T31" fmla="*/ 608 h 823"/>
              <a:gd name="T32" fmla="*/ 251 w 860"/>
              <a:gd name="T33" fmla="*/ 537 h 823"/>
              <a:gd name="T34" fmla="*/ 143 w 860"/>
              <a:gd name="T35" fmla="*/ 716 h 823"/>
              <a:gd name="T36" fmla="*/ 215 w 860"/>
              <a:gd name="T37" fmla="*/ 644 h 823"/>
              <a:gd name="T38" fmla="*/ 143 w 860"/>
              <a:gd name="T39" fmla="*/ 716 h 823"/>
              <a:gd name="T40" fmla="*/ 215 w 860"/>
              <a:gd name="T41" fmla="*/ 608 h 823"/>
              <a:gd name="T42" fmla="*/ 143 w 860"/>
              <a:gd name="T43" fmla="*/ 537 h 823"/>
              <a:gd name="T44" fmla="*/ 788 w 860"/>
              <a:gd name="T45" fmla="*/ 752 h 823"/>
              <a:gd name="T46" fmla="*/ 466 w 860"/>
              <a:gd name="T47" fmla="*/ 537 h 823"/>
              <a:gd name="T48" fmla="*/ 394 w 860"/>
              <a:gd name="T49" fmla="*/ 752 h 823"/>
              <a:gd name="T50" fmla="*/ 72 w 860"/>
              <a:gd name="T51" fmla="*/ 501 h 823"/>
              <a:gd name="T52" fmla="*/ 430 w 860"/>
              <a:gd name="T53" fmla="*/ 269 h 823"/>
              <a:gd name="T54" fmla="*/ 788 w 860"/>
              <a:gd name="T55" fmla="*/ 501 h 823"/>
              <a:gd name="T56" fmla="*/ 100 w 860"/>
              <a:gd name="T57" fmla="*/ 358 h 823"/>
              <a:gd name="T58" fmla="*/ 199 w 860"/>
              <a:gd name="T59" fmla="*/ 429 h 823"/>
              <a:gd name="T60" fmla="*/ 100 w 860"/>
              <a:gd name="T61" fmla="*/ 358 h 823"/>
              <a:gd name="T62" fmla="*/ 778 w 860"/>
              <a:gd name="T63" fmla="*/ 429 h 823"/>
              <a:gd name="T64" fmla="*/ 600 w 860"/>
              <a:gd name="T65" fmla="*/ 358 h 823"/>
              <a:gd name="T66" fmla="*/ 816 w 860"/>
              <a:gd name="T67" fmla="*/ 286 h 823"/>
              <a:gd name="T68" fmla="*/ 466 w 860"/>
              <a:gd name="T69" fmla="*/ 183 h 823"/>
              <a:gd name="T70" fmla="*/ 483 w 860"/>
              <a:gd name="T71" fmla="*/ 73 h 823"/>
              <a:gd name="T72" fmla="*/ 645 w 860"/>
              <a:gd name="T73" fmla="*/ 53 h 823"/>
              <a:gd name="T74" fmla="*/ 430 w 860"/>
              <a:gd name="T75" fmla="*/ 0 h 823"/>
              <a:gd name="T76" fmla="*/ 394 w 860"/>
              <a:gd name="T77" fmla="*/ 183 h 823"/>
              <a:gd name="T78" fmla="*/ 44 w 860"/>
              <a:gd name="T79" fmla="*/ 286 h 823"/>
              <a:gd name="T80" fmla="*/ 0 w 860"/>
              <a:gd name="T81" fmla="*/ 823 h 823"/>
              <a:gd name="T82" fmla="*/ 860 w 860"/>
              <a:gd name="T83" fmla="*/ 448 h 8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860" h="823">
                <a:moveTo>
                  <a:pt x="394" y="465"/>
                </a:moveTo>
                <a:lnTo>
                  <a:pt x="466" y="465"/>
                </a:lnTo>
                <a:lnTo>
                  <a:pt x="466" y="393"/>
                </a:lnTo>
                <a:lnTo>
                  <a:pt x="394" y="393"/>
                </a:lnTo>
                <a:lnTo>
                  <a:pt x="394" y="465"/>
                </a:lnTo>
                <a:close/>
                <a:moveTo>
                  <a:pt x="537" y="716"/>
                </a:moveTo>
                <a:lnTo>
                  <a:pt x="609" y="716"/>
                </a:lnTo>
                <a:lnTo>
                  <a:pt x="609" y="644"/>
                </a:lnTo>
                <a:lnTo>
                  <a:pt x="537" y="644"/>
                </a:lnTo>
                <a:lnTo>
                  <a:pt x="537" y="716"/>
                </a:lnTo>
                <a:close/>
                <a:moveTo>
                  <a:pt x="537" y="608"/>
                </a:moveTo>
                <a:lnTo>
                  <a:pt x="609" y="608"/>
                </a:lnTo>
                <a:lnTo>
                  <a:pt x="609" y="537"/>
                </a:lnTo>
                <a:lnTo>
                  <a:pt x="537" y="537"/>
                </a:lnTo>
                <a:lnTo>
                  <a:pt x="537" y="608"/>
                </a:lnTo>
                <a:close/>
                <a:moveTo>
                  <a:pt x="716" y="644"/>
                </a:moveTo>
                <a:lnTo>
                  <a:pt x="645" y="644"/>
                </a:lnTo>
                <a:lnTo>
                  <a:pt x="645" y="716"/>
                </a:lnTo>
                <a:lnTo>
                  <a:pt x="716" y="716"/>
                </a:lnTo>
                <a:lnTo>
                  <a:pt x="716" y="644"/>
                </a:lnTo>
                <a:close/>
                <a:moveTo>
                  <a:pt x="716" y="537"/>
                </a:moveTo>
                <a:lnTo>
                  <a:pt x="645" y="537"/>
                </a:lnTo>
                <a:lnTo>
                  <a:pt x="645" y="608"/>
                </a:lnTo>
                <a:lnTo>
                  <a:pt x="716" y="608"/>
                </a:lnTo>
                <a:lnTo>
                  <a:pt x="716" y="537"/>
                </a:lnTo>
                <a:close/>
                <a:moveTo>
                  <a:pt x="251" y="716"/>
                </a:moveTo>
                <a:lnTo>
                  <a:pt x="322" y="716"/>
                </a:lnTo>
                <a:lnTo>
                  <a:pt x="322" y="644"/>
                </a:lnTo>
                <a:lnTo>
                  <a:pt x="251" y="644"/>
                </a:lnTo>
                <a:lnTo>
                  <a:pt x="251" y="716"/>
                </a:lnTo>
                <a:close/>
                <a:moveTo>
                  <a:pt x="251" y="608"/>
                </a:moveTo>
                <a:lnTo>
                  <a:pt x="322" y="608"/>
                </a:lnTo>
                <a:lnTo>
                  <a:pt x="322" y="537"/>
                </a:lnTo>
                <a:lnTo>
                  <a:pt x="251" y="537"/>
                </a:lnTo>
                <a:lnTo>
                  <a:pt x="251" y="608"/>
                </a:lnTo>
                <a:close/>
                <a:moveTo>
                  <a:pt x="143" y="716"/>
                </a:moveTo>
                <a:lnTo>
                  <a:pt x="215" y="716"/>
                </a:lnTo>
                <a:lnTo>
                  <a:pt x="215" y="644"/>
                </a:lnTo>
                <a:lnTo>
                  <a:pt x="143" y="644"/>
                </a:lnTo>
                <a:lnTo>
                  <a:pt x="143" y="716"/>
                </a:lnTo>
                <a:close/>
                <a:moveTo>
                  <a:pt x="143" y="608"/>
                </a:moveTo>
                <a:lnTo>
                  <a:pt x="215" y="608"/>
                </a:lnTo>
                <a:lnTo>
                  <a:pt x="215" y="537"/>
                </a:lnTo>
                <a:lnTo>
                  <a:pt x="143" y="537"/>
                </a:lnTo>
                <a:lnTo>
                  <a:pt x="143" y="608"/>
                </a:lnTo>
                <a:close/>
                <a:moveTo>
                  <a:pt x="788" y="752"/>
                </a:moveTo>
                <a:lnTo>
                  <a:pt x="466" y="752"/>
                </a:lnTo>
                <a:lnTo>
                  <a:pt x="466" y="537"/>
                </a:lnTo>
                <a:lnTo>
                  <a:pt x="394" y="537"/>
                </a:lnTo>
                <a:lnTo>
                  <a:pt x="394" y="752"/>
                </a:lnTo>
                <a:lnTo>
                  <a:pt x="72" y="752"/>
                </a:lnTo>
                <a:lnTo>
                  <a:pt x="72" y="501"/>
                </a:lnTo>
                <a:lnTo>
                  <a:pt x="232" y="501"/>
                </a:lnTo>
                <a:lnTo>
                  <a:pt x="430" y="269"/>
                </a:lnTo>
                <a:lnTo>
                  <a:pt x="628" y="501"/>
                </a:lnTo>
                <a:lnTo>
                  <a:pt x="788" y="501"/>
                </a:lnTo>
                <a:lnTo>
                  <a:pt x="788" y="752"/>
                </a:lnTo>
                <a:close/>
                <a:moveTo>
                  <a:pt x="100" y="358"/>
                </a:moveTo>
                <a:lnTo>
                  <a:pt x="260" y="358"/>
                </a:lnTo>
                <a:lnTo>
                  <a:pt x="199" y="429"/>
                </a:lnTo>
                <a:lnTo>
                  <a:pt x="82" y="429"/>
                </a:lnTo>
                <a:lnTo>
                  <a:pt x="100" y="358"/>
                </a:lnTo>
                <a:close/>
                <a:moveTo>
                  <a:pt x="760" y="358"/>
                </a:moveTo>
                <a:lnTo>
                  <a:pt x="778" y="429"/>
                </a:lnTo>
                <a:lnTo>
                  <a:pt x="661" y="429"/>
                </a:lnTo>
                <a:lnTo>
                  <a:pt x="600" y="358"/>
                </a:lnTo>
                <a:lnTo>
                  <a:pt x="760" y="358"/>
                </a:lnTo>
                <a:close/>
                <a:moveTo>
                  <a:pt x="816" y="286"/>
                </a:moveTo>
                <a:lnTo>
                  <a:pt x="539" y="286"/>
                </a:lnTo>
                <a:lnTo>
                  <a:pt x="466" y="183"/>
                </a:lnTo>
                <a:lnTo>
                  <a:pt x="466" y="59"/>
                </a:lnTo>
                <a:cubicBezTo>
                  <a:pt x="466" y="62"/>
                  <a:pt x="477" y="67"/>
                  <a:pt x="483" y="73"/>
                </a:cubicBezTo>
                <a:cubicBezTo>
                  <a:pt x="512" y="101"/>
                  <a:pt x="537" y="125"/>
                  <a:pt x="645" y="125"/>
                </a:cubicBezTo>
                <a:lnTo>
                  <a:pt x="645" y="53"/>
                </a:lnTo>
                <a:cubicBezTo>
                  <a:pt x="573" y="53"/>
                  <a:pt x="550" y="47"/>
                  <a:pt x="533" y="31"/>
                </a:cubicBezTo>
                <a:cubicBezTo>
                  <a:pt x="511" y="9"/>
                  <a:pt x="488" y="0"/>
                  <a:pt x="430" y="0"/>
                </a:cubicBezTo>
                <a:lnTo>
                  <a:pt x="394" y="0"/>
                </a:lnTo>
                <a:lnTo>
                  <a:pt x="394" y="183"/>
                </a:lnTo>
                <a:lnTo>
                  <a:pt x="322" y="286"/>
                </a:lnTo>
                <a:lnTo>
                  <a:pt x="44" y="286"/>
                </a:lnTo>
                <a:lnTo>
                  <a:pt x="1" y="458"/>
                </a:lnTo>
                <a:lnTo>
                  <a:pt x="0" y="823"/>
                </a:lnTo>
                <a:lnTo>
                  <a:pt x="860" y="823"/>
                </a:lnTo>
                <a:lnTo>
                  <a:pt x="860" y="448"/>
                </a:lnTo>
                <a:lnTo>
                  <a:pt x="816" y="28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5" name="Freeform 33"/>
          <p:cNvSpPr>
            <a:spLocks noEditPoints="1"/>
          </p:cNvSpPr>
          <p:nvPr/>
        </p:nvSpPr>
        <p:spPr bwMode="auto">
          <a:xfrm>
            <a:off x="8017892" y="3077747"/>
            <a:ext cx="591581" cy="543275"/>
          </a:xfrm>
          <a:custGeom>
            <a:avLst/>
            <a:gdLst>
              <a:gd name="T0" fmla="*/ 143 w 859"/>
              <a:gd name="T1" fmla="*/ 645 h 788"/>
              <a:gd name="T2" fmla="*/ 143 w 859"/>
              <a:gd name="T3" fmla="*/ 430 h 788"/>
              <a:gd name="T4" fmla="*/ 716 w 859"/>
              <a:gd name="T5" fmla="*/ 430 h 788"/>
              <a:gd name="T6" fmla="*/ 716 w 859"/>
              <a:gd name="T7" fmla="*/ 645 h 788"/>
              <a:gd name="T8" fmla="*/ 143 w 859"/>
              <a:gd name="T9" fmla="*/ 645 h 788"/>
              <a:gd name="T10" fmla="*/ 179 w 859"/>
              <a:gd name="T11" fmla="*/ 72 h 788"/>
              <a:gd name="T12" fmla="*/ 680 w 859"/>
              <a:gd name="T13" fmla="*/ 72 h 788"/>
              <a:gd name="T14" fmla="*/ 716 w 859"/>
              <a:gd name="T15" fmla="*/ 108 h 788"/>
              <a:gd name="T16" fmla="*/ 716 w 859"/>
              <a:gd name="T17" fmla="*/ 358 h 788"/>
              <a:gd name="T18" fmla="*/ 465 w 859"/>
              <a:gd name="T19" fmla="*/ 358 h 788"/>
              <a:gd name="T20" fmla="*/ 465 w 859"/>
              <a:gd name="T21" fmla="*/ 108 h 788"/>
              <a:gd name="T22" fmla="*/ 393 w 859"/>
              <a:gd name="T23" fmla="*/ 108 h 788"/>
              <a:gd name="T24" fmla="*/ 393 w 859"/>
              <a:gd name="T25" fmla="*/ 358 h 788"/>
              <a:gd name="T26" fmla="*/ 143 w 859"/>
              <a:gd name="T27" fmla="*/ 358 h 788"/>
              <a:gd name="T28" fmla="*/ 143 w 859"/>
              <a:gd name="T29" fmla="*/ 108 h 788"/>
              <a:gd name="T30" fmla="*/ 179 w 859"/>
              <a:gd name="T31" fmla="*/ 72 h 788"/>
              <a:gd name="T32" fmla="*/ 787 w 859"/>
              <a:gd name="T33" fmla="*/ 179 h 788"/>
              <a:gd name="T34" fmla="*/ 787 w 859"/>
              <a:gd name="T35" fmla="*/ 108 h 788"/>
              <a:gd name="T36" fmla="*/ 680 w 859"/>
              <a:gd name="T37" fmla="*/ 0 h 788"/>
              <a:gd name="T38" fmla="*/ 179 w 859"/>
              <a:gd name="T39" fmla="*/ 0 h 788"/>
              <a:gd name="T40" fmla="*/ 71 w 859"/>
              <a:gd name="T41" fmla="*/ 108 h 788"/>
              <a:gd name="T42" fmla="*/ 71 w 859"/>
              <a:gd name="T43" fmla="*/ 179 h 788"/>
              <a:gd name="T44" fmla="*/ 0 w 859"/>
              <a:gd name="T45" fmla="*/ 179 h 788"/>
              <a:gd name="T46" fmla="*/ 0 w 859"/>
              <a:gd name="T47" fmla="*/ 358 h 788"/>
              <a:gd name="T48" fmla="*/ 71 w 859"/>
              <a:gd name="T49" fmla="*/ 358 h 788"/>
              <a:gd name="T50" fmla="*/ 71 w 859"/>
              <a:gd name="T51" fmla="*/ 716 h 788"/>
              <a:gd name="T52" fmla="*/ 143 w 859"/>
              <a:gd name="T53" fmla="*/ 716 h 788"/>
              <a:gd name="T54" fmla="*/ 143 w 859"/>
              <a:gd name="T55" fmla="*/ 788 h 788"/>
              <a:gd name="T56" fmla="*/ 214 w 859"/>
              <a:gd name="T57" fmla="*/ 788 h 788"/>
              <a:gd name="T58" fmla="*/ 214 w 859"/>
              <a:gd name="T59" fmla="*/ 716 h 788"/>
              <a:gd name="T60" fmla="*/ 644 w 859"/>
              <a:gd name="T61" fmla="*/ 716 h 788"/>
              <a:gd name="T62" fmla="*/ 644 w 859"/>
              <a:gd name="T63" fmla="*/ 788 h 788"/>
              <a:gd name="T64" fmla="*/ 716 w 859"/>
              <a:gd name="T65" fmla="*/ 788 h 788"/>
              <a:gd name="T66" fmla="*/ 716 w 859"/>
              <a:gd name="T67" fmla="*/ 716 h 788"/>
              <a:gd name="T68" fmla="*/ 787 w 859"/>
              <a:gd name="T69" fmla="*/ 716 h 788"/>
              <a:gd name="T70" fmla="*/ 787 w 859"/>
              <a:gd name="T71" fmla="*/ 358 h 788"/>
              <a:gd name="T72" fmla="*/ 859 w 859"/>
              <a:gd name="T73" fmla="*/ 358 h 788"/>
              <a:gd name="T74" fmla="*/ 859 w 859"/>
              <a:gd name="T75" fmla="*/ 179 h 788"/>
              <a:gd name="T76" fmla="*/ 787 w 859"/>
              <a:gd name="T77" fmla="*/ 179 h 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59" h="788">
                <a:moveTo>
                  <a:pt x="143" y="645"/>
                </a:moveTo>
                <a:lnTo>
                  <a:pt x="143" y="430"/>
                </a:lnTo>
                <a:lnTo>
                  <a:pt x="716" y="430"/>
                </a:lnTo>
                <a:lnTo>
                  <a:pt x="716" y="645"/>
                </a:lnTo>
                <a:lnTo>
                  <a:pt x="143" y="645"/>
                </a:lnTo>
                <a:close/>
                <a:moveTo>
                  <a:pt x="179" y="72"/>
                </a:moveTo>
                <a:lnTo>
                  <a:pt x="680" y="72"/>
                </a:lnTo>
                <a:cubicBezTo>
                  <a:pt x="700" y="72"/>
                  <a:pt x="716" y="88"/>
                  <a:pt x="716" y="108"/>
                </a:cubicBezTo>
                <a:lnTo>
                  <a:pt x="716" y="358"/>
                </a:lnTo>
                <a:lnTo>
                  <a:pt x="465" y="358"/>
                </a:lnTo>
                <a:lnTo>
                  <a:pt x="465" y="108"/>
                </a:lnTo>
                <a:lnTo>
                  <a:pt x="393" y="108"/>
                </a:lnTo>
                <a:lnTo>
                  <a:pt x="393" y="358"/>
                </a:lnTo>
                <a:lnTo>
                  <a:pt x="143" y="358"/>
                </a:lnTo>
                <a:lnTo>
                  <a:pt x="143" y="108"/>
                </a:lnTo>
                <a:cubicBezTo>
                  <a:pt x="143" y="88"/>
                  <a:pt x="159" y="72"/>
                  <a:pt x="179" y="72"/>
                </a:cubicBezTo>
                <a:close/>
                <a:moveTo>
                  <a:pt x="787" y="179"/>
                </a:moveTo>
                <a:lnTo>
                  <a:pt x="787" y="108"/>
                </a:lnTo>
                <a:cubicBezTo>
                  <a:pt x="787" y="48"/>
                  <a:pt x="739" y="0"/>
                  <a:pt x="680" y="0"/>
                </a:cubicBezTo>
                <a:lnTo>
                  <a:pt x="179" y="0"/>
                </a:lnTo>
                <a:cubicBezTo>
                  <a:pt x="120" y="0"/>
                  <a:pt x="71" y="48"/>
                  <a:pt x="71" y="108"/>
                </a:cubicBezTo>
                <a:lnTo>
                  <a:pt x="71" y="179"/>
                </a:lnTo>
                <a:lnTo>
                  <a:pt x="0" y="179"/>
                </a:lnTo>
                <a:lnTo>
                  <a:pt x="0" y="358"/>
                </a:lnTo>
                <a:lnTo>
                  <a:pt x="71" y="358"/>
                </a:lnTo>
                <a:lnTo>
                  <a:pt x="71" y="716"/>
                </a:lnTo>
                <a:lnTo>
                  <a:pt x="143" y="716"/>
                </a:lnTo>
                <a:lnTo>
                  <a:pt x="143" y="788"/>
                </a:lnTo>
                <a:lnTo>
                  <a:pt x="214" y="788"/>
                </a:lnTo>
                <a:lnTo>
                  <a:pt x="214" y="716"/>
                </a:lnTo>
                <a:lnTo>
                  <a:pt x="644" y="716"/>
                </a:lnTo>
                <a:lnTo>
                  <a:pt x="644" y="788"/>
                </a:lnTo>
                <a:lnTo>
                  <a:pt x="716" y="788"/>
                </a:lnTo>
                <a:lnTo>
                  <a:pt x="716" y="716"/>
                </a:lnTo>
                <a:lnTo>
                  <a:pt x="787" y="716"/>
                </a:lnTo>
                <a:lnTo>
                  <a:pt x="787" y="358"/>
                </a:lnTo>
                <a:lnTo>
                  <a:pt x="859" y="358"/>
                </a:lnTo>
                <a:lnTo>
                  <a:pt x="859" y="179"/>
                </a:lnTo>
                <a:lnTo>
                  <a:pt x="787" y="17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34"/>
          <p:cNvSpPr>
            <a:spLocks noChangeArrowheads="1"/>
          </p:cNvSpPr>
          <p:nvPr/>
        </p:nvSpPr>
        <p:spPr bwMode="auto">
          <a:xfrm>
            <a:off x="8141012" y="3429000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7" name="Rectangle 35"/>
          <p:cNvSpPr>
            <a:spLocks noChangeArrowheads="1"/>
          </p:cNvSpPr>
          <p:nvPr/>
        </p:nvSpPr>
        <p:spPr bwMode="auto">
          <a:xfrm>
            <a:off x="8363231" y="3429000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8" name="Rectangle 36"/>
          <p:cNvSpPr>
            <a:spLocks noChangeArrowheads="1"/>
          </p:cNvSpPr>
          <p:nvPr/>
        </p:nvSpPr>
        <p:spPr bwMode="auto">
          <a:xfrm>
            <a:off x="2279241" y="647860"/>
            <a:ext cx="246243" cy="480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7"/>
          <p:cNvSpPr>
            <a:spLocks noEditPoints="1"/>
          </p:cNvSpPr>
          <p:nvPr/>
        </p:nvSpPr>
        <p:spPr bwMode="auto">
          <a:xfrm>
            <a:off x="2177142" y="560563"/>
            <a:ext cx="447441" cy="519263"/>
          </a:xfrm>
          <a:custGeom>
            <a:avLst/>
            <a:gdLst>
              <a:gd name="T0" fmla="*/ 212 w 651"/>
              <a:gd name="T1" fmla="*/ 446 h 752"/>
              <a:gd name="T2" fmla="*/ 281 w 651"/>
              <a:gd name="T3" fmla="*/ 680 h 752"/>
              <a:gd name="T4" fmla="*/ 290 w 651"/>
              <a:gd name="T5" fmla="*/ 680 h 752"/>
              <a:gd name="T6" fmla="*/ 290 w 651"/>
              <a:gd name="T7" fmla="*/ 348 h 752"/>
              <a:gd name="T8" fmla="*/ 254 w 651"/>
              <a:gd name="T9" fmla="*/ 286 h 752"/>
              <a:gd name="T10" fmla="*/ 326 w 651"/>
              <a:gd name="T11" fmla="*/ 215 h 752"/>
              <a:gd name="T12" fmla="*/ 397 w 651"/>
              <a:gd name="T13" fmla="*/ 286 h 752"/>
              <a:gd name="T14" fmla="*/ 362 w 651"/>
              <a:gd name="T15" fmla="*/ 348 h 752"/>
              <a:gd name="T16" fmla="*/ 362 w 651"/>
              <a:gd name="T17" fmla="*/ 680 h 752"/>
              <a:gd name="T18" fmla="*/ 370 w 651"/>
              <a:gd name="T19" fmla="*/ 680 h 752"/>
              <a:gd name="T20" fmla="*/ 435 w 651"/>
              <a:gd name="T21" fmla="*/ 456 h 752"/>
              <a:gd name="T22" fmla="*/ 573 w 651"/>
              <a:gd name="T23" fmla="*/ 245 h 752"/>
              <a:gd name="T24" fmla="*/ 326 w 651"/>
              <a:gd name="T25" fmla="*/ 72 h 752"/>
              <a:gd name="T26" fmla="*/ 79 w 651"/>
              <a:gd name="T27" fmla="*/ 245 h 752"/>
              <a:gd name="T28" fmla="*/ 212 w 651"/>
              <a:gd name="T29" fmla="*/ 446 h 752"/>
              <a:gd name="T30" fmla="*/ 5 w 651"/>
              <a:gd name="T31" fmla="*/ 241 h 752"/>
              <a:gd name="T32" fmla="*/ 326 w 651"/>
              <a:gd name="T33" fmla="*/ 0 h 752"/>
              <a:gd name="T34" fmla="*/ 647 w 651"/>
              <a:gd name="T35" fmla="*/ 241 h 752"/>
              <a:gd name="T36" fmla="*/ 651 w 651"/>
              <a:gd name="T37" fmla="*/ 257 h 752"/>
              <a:gd name="T38" fmla="*/ 502 w 651"/>
              <a:gd name="T39" fmla="*/ 481 h 752"/>
              <a:gd name="T40" fmla="*/ 424 w 651"/>
              <a:gd name="T41" fmla="*/ 752 h 752"/>
              <a:gd name="T42" fmla="*/ 227 w 651"/>
              <a:gd name="T43" fmla="*/ 752 h 752"/>
              <a:gd name="T44" fmla="*/ 150 w 651"/>
              <a:gd name="T45" fmla="*/ 481 h 752"/>
              <a:gd name="T46" fmla="*/ 0 w 651"/>
              <a:gd name="T47" fmla="*/ 257 h 752"/>
              <a:gd name="T48" fmla="*/ 5 w 651"/>
              <a:gd name="T49" fmla="*/ 24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51" h="752">
                <a:moveTo>
                  <a:pt x="212" y="446"/>
                </a:moveTo>
                <a:lnTo>
                  <a:pt x="281" y="680"/>
                </a:lnTo>
                <a:lnTo>
                  <a:pt x="290" y="680"/>
                </a:lnTo>
                <a:lnTo>
                  <a:pt x="290" y="348"/>
                </a:lnTo>
                <a:cubicBezTo>
                  <a:pt x="254" y="336"/>
                  <a:pt x="254" y="313"/>
                  <a:pt x="254" y="286"/>
                </a:cubicBezTo>
                <a:cubicBezTo>
                  <a:pt x="254" y="247"/>
                  <a:pt x="286" y="215"/>
                  <a:pt x="326" y="215"/>
                </a:cubicBezTo>
                <a:cubicBezTo>
                  <a:pt x="365" y="215"/>
                  <a:pt x="397" y="247"/>
                  <a:pt x="397" y="286"/>
                </a:cubicBezTo>
                <a:cubicBezTo>
                  <a:pt x="397" y="313"/>
                  <a:pt x="398" y="336"/>
                  <a:pt x="362" y="348"/>
                </a:cubicBezTo>
                <a:lnTo>
                  <a:pt x="362" y="680"/>
                </a:lnTo>
                <a:lnTo>
                  <a:pt x="370" y="680"/>
                </a:lnTo>
                <a:lnTo>
                  <a:pt x="435" y="456"/>
                </a:lnTo>
                <a:lnTo>
                  <a:pt x="573" y="245"/>
                </a:lnTo>
                <a:cubicBezTo>
                  <a:pt x="536" y="142"/>
                  <a:pt x="436" y="72"/>
                  <a:pt x="326" y="72"/>
                </a:cubicBezTo>
                <a:cubicBezTo>
                  <a:pt x="215" y="72"/>
                  <a:pt x="116" y="142"/>
                  <a:pt x="79" y="245"/>
                </a:cubicBezTo>
                <a:lnTo>
                  <a:pt x="212" y="446"/>
                </a:lnTo>
                <a:close/>
                <a:moveTo>
                  <a:pt x="5" y="241"/>
                </a:moveTo>
                <a:cubicBezTo>
                  <a:pt x="46" y="99"/>
                  <a:pt x="178" y="0"/>
                  <a:pt x="326" y="0"/>
                </a:cubicBezTo>
                <a:cubicBezTo>
                  <a:pt x="473" y="0"/>
                  <a:pt x="605" y="99"/>
                  <a:pt x="647" y="241"/>
                </a:cubicBezTo>
                <a:lnTo>
                  <a:pt x="651" y="257"/>
                </a:lnTo>
                <a:lnTo>
                  <a:pt x="502" y="481"/>
                </a:lnTo>
                <a:lnTo>
                  <a:pt x="424" y="752"/>
                </a:lnTo>
                <a:lnTo>
                  <a:pt x="227" y="752"/>
                </a:lnTo>
                <a:lnTo>
                  <a:pt x="150" y="481"/>
                </a:lnTo>
                <a:lnTo>
                  <a:pt x="0" y="257"/>
                </a:lnTo>
                <a:lnTo>
                  <a:pt x="5" y="24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2" name="Freeform 40"/>
          <p:cNvSpPr>
            <a:spLocks noEditPoints="1"/>
          </p:cNvSpPr>
          <p:nvPr/>
        </p:nvSpPr>
        <p:spPr bwMode="auto">
          <a:xfrm>
            <a:off x="3585527" y="1831707"/>
            <a:ext cx="588580" cy="492248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6" name="Freeform 44"/>
          <p:cNvSpPr>
            <a:spLocks noEditPoints="1"/>
          </p:cNvSpPr>
          <p:nvPr/>
        </p:nvSpPr>
        <p:spPr bwMode="auto">
          <a:xfrm>
            <a:off x="10966795" y="509538"/>
            <a:ext cx="573565" cy="621313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5"/>
          <p:cNvSpPr>
            <a:spLocks noEditPoints="1"/>
          </p:cNvSpPr>
          <p:nvPr/>
        </p:nvSpPr>
        <p:spPr bwMode="auto">
          <a:xfrm>
            <a:off x="630619" y="1794187"/>
            <a:ext cx="588580" cy="567288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0" name="Freeform 48"/>
          <p:cNvSpPr>
            <a:spLocks noEditPoints="1"/>
          </p:cNvSpPr>
          <p:nvPr/>
        </p:nvSpPr>
        <p:spPr bwMode="auto">
          <a:xfrm>
            <a:off x="5065986" y="538051"/>
            <a:ext cx="582575" cy="564285"/>
          </a:xfrm>
          <a:custGeom>
            <a:avLst/>
            <a:gdLst>
              <a:gd name="T0" fmla="*/ 388 w 848"/>
              <a:gd name="T1" fmla="*/ 486 h 821"/>
              <a:gd name="T2" fmla="*/ 291 w 848"/>
              <a:gd name="T3" fmla="*/ 583 h 821"/>
              <a:gd name="T4" fmla="*/ 342 w 848"/>
              <a:gd name="T5" fmla="*/ 634 h 821"/>
              <a:gd name="T6" fmla="*/ 460 w 848"/>
              <a:gd name="T7" fmla="*/ 516 h 821"/>
              <a:gd name="T8" fmla="*/ 460 w 848"/>
              <a:gd name="T9" fmla="*/ 267 h 821"/>
              <a:gd name="T10" fmla="*/ 388 w 848"/>
              <a:gd name="T11" fmla="*/ 267 h 821"/>
              <a:gd name="T12" fmla="*/ 388 w 848"/>
              <a:gd name="T13" fmla="*/ 486 h 821"/>
              <a:gd name="T14" fmla="*/ 172 w 848"/>
              <a:gd name="T15" fmla="*/ 118 h 821"/>
              <a:gd name="T16" fmla="*/ 259 w 848"/>
              <a:gd name="T17" fmla="*/ 69 h 821"/>
              <a:gd name="T18" fmla="*/ 231 w 848"/>
              <a:gd name="T19" fmla="*/ 3 h 821"/>
              <a:gd name="T20" fmla="*/ 130 w 848"/>
              <a:gd name="T21" fmla="*/ 60 h 821"/>
              <a:gd name="T22" fmla="*/ 0 w 848"/>
              <a:gd name="T23" fmla="*/ 195 h 821"/>
              <a:gd name="T24" fmla="*/ 60 w 848"/>
              <a:gd name="T25" fmla="*/ 234 h 821"/>
              <a:gd name="T26" fmla="*/ 172 w 848"/>
              <a:gd name="T27" fmla="*/ 118 h 821"/>
              <a:gd name="T28" fmla="*/ 719 w 848"/>
              <a:gd name="T29" fmla="*/ 57 h 821"/>
              <a:gd name="T30" fmla="*/ 617 w 848"/>
              <a:gd name="T31" fmla="*/ 0 h 821"/>
              <a:gd name="T32" fmla="*/ 590 w 848"/>
              <a:gd name="T33" fmla="*/ 66 h 821"/>
              <a:gd name="T34" fmla="*/ 677 w 848"/>
              <a:gd name="T35" fmla="*/ 115 h 821"/>
              <a:gd name="T36" fmla="*/ 788 w 848"/>
              <a:gd name="T37" fmla="*/ 234 h 821"/>
              <a:gd name="T38" fmla="*/ 848 w 848"/>
              <a:gd name="T39" fmla="*/ 196 h 821"/>
              <a:gd name="T40" fmla="*/ 719 w 848"/>
              <a:gd name="T41" fmla="*/ 57 h 821"/>
              <a:gd name="T42" fmla="*/ 424 w 848"/>
              <a:gd name="T43" fmla="*/ 749 h 821"/>
              <a:gd name="T44" fmla="*/ 138 w 848"/>
              <a:gd name="T45" fmla="*/ 463 h 821"/>
              <a:gd name="T46" fmla="*/ 424 w 848"/>
              <a:gd name="T47" fmla="*/ 176 h 821"/>
              <a:gd name="T48" fmla="*/ 711 w 848"/>
              <a:gd name="T49" fmla="*/ 463 h 821"/>
              <a:gd name="T50" fmla="*/ 424 w 848"/>
              <a:gd name="T51" fmla="*/ 749 h 821"/>
              <a:gd name="T52" fmla="*/ 424 w 848"/>
              <a:gd name="T53" fmla="*/ 105 h 821"/>
              <a:gd name="T54" fmla="*/ 66 w 848"/>
              <a:gd name="T55" fmla="*/ 463 h 821"/>
              <a:gd name="T56" fmla="*/ 424 w 848"/>
              <a:gd name="T57" fmla="*/ 821 h 821"/>
              <a:gd name="T58" fmla="*/ 782 w 848"/>
              <a:gd name="T59" fmla="*/ 463 h 821"/>
              <a:gd name="T60" fmla="*/ 424 w 848"/>
              <a:gd name="T61" fmla="*/ 105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848" h="821">
                <a:moveTo>
                  <a:pt x="388" y="486"/>
                </a:moveTo>
                <a:lnTo>
                  <a:pt x="291" y="583"/>
                </a:lnTo>
                <a:lnTo>
                  <a:pt x="342" y="634"/>
                </a:lnTo>
                <a:lnTo>
                  <a:pt x="460" y="516"/>
                </a:lnTo>
                <a:lnTo>
                  <a:pt x="460" y="267"/>
                </a:lnTo>
                <a:lnTo>
                  <a:pt x="388" y="267"/>
                </a:lnTo>
                <a:lnTo>
                  <a:pt x="388" y="486"/>
                </a:lnTo>
                <a:close/>
                <a:moveTo>
                  <a:pt x="172" y="118"/>
                </a:moveTo>
                <a:cubicBezTo>
                  <a:pt x="199" y="98"/>
                  <a:pt x="228" y="82"/>
                  <a:pt x="259" y="69"/>
                </a:cubicBezTo>
                <a:lnTo>
                  <a:pt x="231" y="3"/>
                </a:lnTo>
                <a:cubicBezTo>
                  <a:pt x="195" y="18"/>
                  <a:pt x="161" y="37"/>
                  <a:pt x="130" y="60"/>
                </a:cubicBezTo>
                <a:cubicBezTo>
                  <a:pt x="76" y="98"/>
                  <a:pt x="33" y="144"/>
                  <a:pt x="0" y="195"/>
                </a:cubicBezTo>
                <a:lnTo>
                  <a:pt x="60" y="234"/>
                </a:lnTo>
                <a:cubicBezTo>
                  <a:pt x="89" y="190"/>
                  <a:pt x="126" y="151"/>
                  <a:pt x="172" y="118"/>
                </a:cubicBezTo>
                <a:close/>
                <a:moveTo>
                  <a:pt x="719" y="57"/>
                </a:moveTo>
                <a:cubicBezTo>
                  <a:pt x="687" y="34"/>
                  <a:pt x="653" y="15"/>
                  <a:pt x="617" y="0"/>
                </a:cubicBezTo>
                <a:lnTo>
                  <a:pt x="590" y="66"/>
                </a:lnTo>
                <a:cubicBezTo>
                  <a:pt x="620" y="79"/>
                  <a:pt x="650" y="95"/>
                  <a:pt x="677" y="115"/>
                </a:cubicBezTo>
                <a:cubicBezTo>
                  <a:pt x="721" y="147"/>
                  <a:pt x="758" y="187"/>
                  <a:pt x="788" y="234"/>
                </a:cubicBezTo>
                <a:lnTo>
                  <a:pt x="848" y="196"/>
                </a:lnTo>
                <a:cubicBezTo>
                  <a:pt x="814" y="141"/>
                  <a:pt x="770" y="95"/>
                  <a:pt x="719" y="57"/>
                </a:cubicBezTo>
                <a:close/>
                <a:moveTo>
                  <a:pt x="424" y="749"/>
                </a:moveTo>
                <a:cubicBezTo>
                  <a:pt x="266" y="749"/>
                  <a:pt x="138" y="621"/>
                  <a:pt x="138" y="463"/>
                </a:cubicBezTo>
                <a:cubicBezTo>
                  <a:pt x="138" y="305"/>
                  <a:pt x="266" y="176"/>
                  <a:pt x="424" y="176"/>
                </a:cubicBezTo>
                <a:cubicBezTo>
                  <a:pt x="582" y="176"/>
                  <a:pt x="711" y="305"/>
                  <a:pt x="711" y="463"/>
                </a:cubicBezTo>
                <a:cubicBezTo>
                  <a:pt x="711" y="621"/>
                  <a:pt x="582" y="749"/>
                  <a:pt x="424" y="749"/>
                </a:cubicBezTo>
                <a:close/>
                <a:moveTo>
                  <a:pt x="424" y="105"/>
                </a:moveTo>
                <a:cubicBezTo>
                  <a:pt x="227" y="105"/>
                  <a:pt x="66" y="265"/>
                  <a:pt x="66" y="463"/>
                </a:cubicBezTo>
                <a:cubicBezTo>
                  <a:pt x="66" y="660"/>
                  <a:pt x="227" y="821"/>
                  <a:pt x="424" y="821"/>
                </a:cubicBezTo>
                <a:cubicBezTo>
                  <a:pt x="622" y="821"/>
                  <a:pt x="782" y="660"/>
                  <a:pt x="782" y="463"/>
                </a:cubicBezTo>
                <a:cubicBezTo>
                  <a:pt x="782" y="265"/>
                  <a:pt x="622" y="105"/>
                  <a:pt x="424" y="10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4" name="Freeform 52"/>
          <p:cNvSpPr>
            <a:spLocks noEditPoints="1"/>
          </p:cNvSpPr>
          <p:nvPr/>
        </p:nvSpPr>
        <p:spPr bwMode="auto">
          <a:xfrm>
            <a:off x="6540438" y="1780680"/>
            <a:ext cx="576567" cy="59430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6" name="Freeform 54"/>
          <p:cNvSpPr>
            <a:spLocks noEditPoints="1"/>
          </p:cNvSpPr>
          <p:nvPr/>
        </p:nvSpPr>
        <p:spPr bwMode="auto">
          <a:xfrm>
            <a:off x="2108074" y="3005710"/>
            <a:ext cx="588580" cy="591300"/>
          </a:xfrm>
          <a:custGeom>
            <a:avLst/>
            <a:gdLst>
              <a:gd name="T0" fmla="*/ 358 w 860"/>
              <a:gd name="T1" fmla="*/ 322 h 859"/>
              <a:gd name="T2" fmla="*/ 358 w 860"/>
              <a:gd name="T3" fmla="*/ 250 h 859"/>
              <a:gd name="T4" fmla="*/ 287 w 860"/>
              <a:gd name="T5" fmla="*/ 250 h 859"/>
              <a:gd name="T6" fmla="*/ 287 w 860"/>
              <a:gd name="T7" fmla="*/ 322 h 859"/>
              <a:gd name="T8" fmla="*/ 358 w 860"/>
              <a:gd name="T9" fmla="*/ 322 h 859"/>
              <a:gd name="T10" fmla="*/ 215 w 860"/>
              <a:gd name="T11" fmla="*/ 394 h 859"/>
              <a:gd name="T12" fmla="*/ 144 w 860"/>
              <a:gd name="T13" fmla="*/ 394 h 859"/>
              <a:gd name="T14" fmla="*/ 144 w 860"/>
              <a:gd name="T15" fmla="*/ 465 h 859"/>
              <a:gd name="T16" fmla="*/ 215 w 860"/>
              <a:gd name="T17" fmla="*/ 465 h 859"/>
              <a:gd name="T18" fmla="*/ 215 w 860"/>
              <a:gd name="T19" fmla="*/ 394 h 859"/>
              <a:gd name="T20" fmla="*/ 251 w 860"/>
              <a:gd name="T21" fmla="*/ 143 h 859"/>
              <a:gd name="T22" fmla="*/ 394 w 860"/>
              <a:gd name="T23" fmla="*/ 143 h 859"/>
              <a:gd name="T24" fmla="*/ 394 w 860"/>
              <a:gd name="T25" fmla="*/ 71 h 859"/>
              <a:gd name="T26" fmla="*/ 251 w 860"/>
              <a:gd name="T27" fmla="*/ 71 h 859"/>
              <a:gd name="T28" fmla="*/ 251 w 860"/>
              <a:gd name="T29" fmla="*/ 0 h 859"/>
              <a:gd name="T30" fmla="*/ 179 w 860"/>
              <a:gd name="T31" fmla="*/ 0 h 859"/>
              <a:gd name="T32" fmla="*/ 179 w 860"/>
              <a:gd name="T33" fmla="*/ 179 h 859"/>
              <a:gd name="T34" fmla="*/ 251 w 860"/>
              <a:gd name="T35" fmla="*/ 179 h 859"/>
              <a:gd name="T36" fmla="*/ 251 w 860"/>
              <a:gd name="T37" fmla="*/ 143 h 859"/>
              <a:gd name="T38" fmla="*/ 215 w 860"/>
              <a:gd name="T39" fmla="*/ 250 h 859"/>
              <a:gd name="T40" fmla="*/ 144 w 860"/>
              <a:gd name="T41" fmla="*/ 250 h 859"/>
              <a:gd name="T42" fmla="*/ 144 w 860"/>
              <a:gd name="T43" fmla="*/ 322 h 859"/>
              <a:gd name="T44" fmla="*/ 215 w 860"/>
              <a:gd name="T45" fmla="*/ 322 h 859"/>
              <a:gd name="T46" fmla="*/ 215 w 860"/>
              <a:gd name="T47" fmla="*/ 250 h 859"/>
              <a:gd name="T48" fmla="*/ 609 w 860"/>
              <a:gd name="T49" fmla="*/ 429 h 859"/>
              <a:gd name="T50" fmla="*/ 537 w 860"/>
              <a:gd name="T51" fmla="*/ 429 h 859"/>
              <a:gd name="T52" fmla="*/ 537 w 860"/>
              <a:gd name="T53" fmla="*/ 588 h 859"/>
              <a:gd name="T54" fmla="*/ 620 w 860"/>
              <a:gd name="T55" fmla="*/ 670 h 859"/>
              <a:gd name="T56" fmla="*/ 670 w 860"/>
              <a:gd name="T57" fmla="*/ 619 h 859"/>
              <a:gd name="T58" fmla="*/ 609 w 860"/>
              <a:gd name="T59" fmla="*/ 558 h 859"/>
              <a:gd name="T60" fmla="*/ 609 w 860"/>
              <a:gd name="T61" fmla="*/ 429 h 859"/>
              <a:gd name="T62" fmla="*/ 573 w 860"/>
              <a:gd name="T63" fmla="*/ 788 h 859"/>
              <a:gd name="T64" fmla="*/ 358 w 860"/>
              <a:gd name="T65" fmla="*/ 573 h 859"/>
              <a:gd name="T66" fmla="*/ 573 w 860"/>
              <a:gd name="T67" fmla="*/ 358 h 859"/>
              <a:gd name="T68" fmla="*/ 788 w 860"/>
              <a:gd name="T69" fmla="*/ 573 h 859"/>
              <a:gd name="T70" fmla="*/ 573 w 860"/>
              <a:gd name="T71" fmla="*/ 788 h 859"/>
              <a:gd name="T72" fmla="*/ 712 w 860"/>
              <a:gd name="T73" fmla="*/ 322 h 859"/>
              <a:gd name="T74" fmla="*/ 716 w 860"/>
              <a:gd name="T75" fmla="*/ 322 h 859"/>
              <a:gd name="T76" fmla="*/ 716 w 860"/>
              <a:gd name="T77" fmla="*/ 71 h 859"/>
              <a:gd name="T78" fmla="*/ 537 w 860"/>
              <a:gd name="T79" fmla="*/ 71 h 859"/>
              <a:gd name="T80" fmla="*/ 537 w 860"/>
              <a:gd name="T81" fmla="*/ 0 h 859"/>
              <a:gd name="T82" fmla="*/ 466 w 860"/>
              <a:gd name="T83" fmla="*/ 0 h 859"/>
              <a:gd name="T84" fmla="*/ 466 w 860"/>
              <a:gd name="T85" fmla="*/ 179 h 859"/>
              <a:gd name="T86" fmla="*/ 537 w 860"/>
              <a:gd name="T87" fmla="*/ 179 h 859"/>
              <a:gd name="T88" fmla="*/ 537 w 860"/>
              <a:gd name="T89" fmla="*/ 143 h 859"/>
              <a:gd name="T90" fmla="*/ 645 w 860"/>
              <a:gd name="T91" fmla="*/ 143 h 859"/>
              <a:gd name="T92" fmla="*/ 645 w 860"/>
              <a:gd name="T93" fmla="*/ 296 h 859"/>
              <a:gd name="T94" fmla="*/ 573 w 860"/>
              <a:gd name="T95" fmla="*/ 286 h 859"/>
              <a:gd name="T96" fmla="*/ 289 w 860"/>
              <a:gd name="T97" fmla="*/ 537 h 859"/>
              <a:gd name="T98" fmla="*/ 72 w 860"/>
              <a:gd name="T99" fmla="*/ 537 h 859"/>
              <a:gd name="T100" fmla="*/ 72 w 860"/>
              <a:gd name="T101" fmla="*/ 143 h 859"/>
              <a:gd name="T102" fmla="*/ 108 w 860"/>
              <a:gd name="T103" fmla="*/ 143 h 859"/>
              <a:gd name="T104" fmla="*/ 108 w 860"/>
              <a:gd name="T105" fmla="*/ 71 h 859"/>
              <a:gd name="T106" fmla="*/ 0 w 860"/>
              <a:gd name="T107" fmla="*/ 71 h 859"/>
              <a:gd name="T108" fmla="*/ 0 w 860"/>
              <a:gd name="T109" fmla="*/ 609 h 859"/>
              <a:gd name="T110" fmla="*/ 289 w 860"/>
              <a:gd name="T111" fmla="*/ 609 h 859"/>
              <a:gd name="T112" fmla="*/ 573 w 860"/>
              <a:gd name="T113" fmla="*/ 859 h 859"/>
              <a:gd name="T114" fmla="*/ 860 w 860"/>
              <a:gd name="T115" fmla="*/ 573 h 859"/>
              <a:gd name="T116" fmla="*/ 712 w 860"/>
              <a:gd name="T117" fmla="*/ 322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860" h="859">
                <a:moveTo>
                  <a:pt x="358" y="322"/>
                </a:moveTo>
                <a:lnTo>
                  <a:pt x="358" y="250"/>
                </a:lnTo>
                <a:lnTo>
                  <a:pt x="287" y="250"/>
                </a:lnTo>
                <a:lnTo>
                  <a:pt x="287" y="322"/>
                </a:lnTo>
                <a:lnTo>
                  <a:pt x="358" y="322"/>
                </a:lnTo>
                <a:close/>
                <a:moveTo>
                  <a:pt x="215" y="394"/>
                </a:moveTo>
                <a:lnTo>
                  <a:pt x="144" y="394"/>
                </a:lnTo>
                <a:lnTo>
                  <a:pt x="144" y="465"/>
                </a:lnTo>
                <a:lnTo>
                  <a:pt x="215" y="465"/>
                </a:lnTo>
                <a:lnTo>
                  <a:pt x="215" y="394"/>
                </a:lnTo>
                <a:close/>
                <a:moveTo>
                  <a:pt x="251" y="143"/>
                </a:moveTo>
                <a:lnTo>
                  <a:pt x="394" y="143"/>
                </a:lnTo>
                <a:lnTo>
                  <a:pt x="394" y="71"/>
                </a:lnTo>
                <a:lnTo>
                  <a:pt x="251" y="71"/>
                </a:lnTo>
                <a:lnTo>
                  <a:pt x="251" y="0"/>
                </a:lnTo>
                <a:lnTo>
                  <a:pt x="179" y="0"/>
                </a:lnTo>
                <a:lnTo>
                  <a:pt x="179" y="179"/>
                </a:lnTo>
                <a:lnTo>
                  <a:pt x="251" y="179"/>
                </a:lnTo>
                <a:lnTo>
                  <a:pt x="251" y="143"/>
                </a:lnTo>
                <a:close/>
                <a:moveTo>
                  <a:pt x="215" y="250"/>
                </a:moveTo>
                <a:lnTo>
                  <a:pt x="144" y="250"/>
                </a:lnTo>
                <a:lnTo>
                  <a:pt x="144" y="322"/>
                </a:lnTo>
                <a:lnTo>
                  <a:pt x="215" y="322"/>
                </a:lnTo>
                <a:lnTo>
                  <a:pt x="215" y="250"/>
                </a:lnTo>
                <a:close/>
                <a:moveTo>
                  <a:pt x="609" y="429"/>
                </a:moveTo>
                <a:lnTo>
                  <a:pt x="537" y="429"/>
                </a:lnTo>
                <a:lnTo>
                  <a:pt x="537" y="588"/>
                </a:lnTo>
                <a:lnTo>
                  <a:pt x="620" y="670"/>
                </a:lnTo>
                <a:lnTo>
                  <a:pt x="670" y="619"/>
                </a:lnTo>
                <a:lnTo>
                  <a:pt x="609" y="558"/>
                </a:lnTo>
                <a:lnTo>
                  <a:pt x="609" y="429"/>
                </a:lnTo>
                <a:close/>
                <a:moveTo>
                  <a:pt x="573" y="788"/>
                </a:moveTo>
                <a:cubicBezTo>
                  <a:pt x="455" y="788"/>
                  <a:pt x="358" y="691"/>
                  <a:pt x="358" y="573"/>
                </a:cubicBezTo>
                <a:cubicBezTo>
                  <a:pt x="358" y="454"/>
                  <a:pt x="455" y="358"/>
                  <a:pt x="573" y="358"/>
                </a:cubicBezTo>
                <a:cubicBezTo>
                  <a:pt x="692" y="358"/>
                  <a:pt x="788" y="454"/>
                  <a:pt x="788" y="573"/>
                </a:cubicBezTo>
                <a:cubicBezTo>
                  <a:pt x="788" y="691"/>
                  <a:pt x="692" y="788"/>
                  <a:pt x="573" y="788"/>
                </a:cubicBezTo>
                <a:close/>
                <a:moveTo>
                  <a:pt x="712" y="322"/>
                </a:moveTo>
                <a:lnTo>
                  <a:pt x="716" y="322"/>
                </a:lnTo>
                <a:lnTo>
                  <a:pt x="716" y="71"/>
                </a:lnTo>
                <a:lnTo>
                  <a:pt x="537" y="71"/>
                </a:lnTo>
                <a:lnTo>
                  <a:pt x="537" y="0"/>
                </a:lnTo>
                <a:lnTo>
                  <a:pt x="466" y="0"/>
                </a:lnTo>
                <a:lnTo>
                  <a:pt x="466" y="179"/>
                </a:lnTo>
                <a:lnTo>
                  <a:pt x="537" y="179"/>
                </a:lnTo>
                <a:lnTo>
                  <a:pt x="537" y="143"/>
                </a:lnTo>
                <a:lnTo>
                  <a:pt x="645" y="143"/>
                </a:lnTo>
                <a:lnTo>
                  <a:pt x="645" y="296"/>
                </a:lnTo>
                <a:cubicBezTo>
                  <a:pt x="609" y="290"/>
                  <a:pt x="598" y="286"/>
                  <a:pt x="573" y="286"/>
                </a:cubicBezTo>
                <a:cubicBezTo>
                  <a:pt x="427" y="286"/>
                  <a:pt x="307" y="394"/>
                  <a:pt x="289" y="537"/>
                </a:cubicBezTo>
                <a:lnTo>
                  <a:pt x="72" y="537"/>
                </a:lnTo>
                <a:lnTo>
                  <a:pt x="72" y="143"/>
                </a:lnTo>
                <a:lnTo>
                  <a:pt x="108" y="143"/>
                </a:lnTo>
                <a:lnTo>
                  <a:pt x="108" y="71"/>
                </a:lnTo>
                <a:lnTo>
                  <a:pt x="0" y="71"/>
                </a:lnTo>
                <a:lnTo>
                  <a:pt x="0" y="609"/>
                </a:lnTo>
                <a:lnTo>
                  <a:pt x="289" y="609"/>
                </a:lnTo>
                <a:cubicBezTo>
                  <a:pt x="307" y="752"/>
                  <a:pt x="427" y="859"/>
                  <a:pt x="573" y="859"/>
                </a:cubicBezTo>
                <a:cubicBezTo>
                  <a:pt x="731" y="859"/>
                  <a:pt x="860" y="731"/>
                  <a:pt x="860" y="573"/>
                </a:cubicBezTo>
                <a:cubicBezTo>
                  <a:pt x="860" y="465"/>
                  <a:pt x="800" y="358"/>
                  <a:pt x="712" y="32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95" name="Группа 94"/>
          <p:cNvGrpSpPr/>
          <p:nvPr/>
        </p:nvGrpSpPr>
        <p:grpSpPr>
          <a:xfrm>
            <a:off x="8041917" y="469017"/>
            <a:ext cx="2017985" cy="702356"/>
            <a:chOff x="6031437" y="443121"/>
            <a:chExt cx="1513489" cy="526767"/>
          </a:xfrm>
        </p:grpSpPr>
        <p:sp>
          <p:nvSpPr>
            <p:cNvPr id="78" name="Freeform 56"/>
            <p:cNvSpPr>
              <a:spLocks/>
            </p:cNvSpPr>
            <p:nvPr/>
          </p:nvSpPr>
          <p:spPr bwMode="auto">
            <a:xfrm>
              <a:off x="6038192" y="692998"/>
              <a:ext cx="576569" cy="31516"/>
            </a:xfrm>
            <a:custGeom>
              <a:avLst/>
              <a:gdLst>
                <a:gd name="T0" fmla="*/ 1111 w 1116"/>
                <a:gd name="T1" fmla="*/ 0 h 60"/>
                <a:gd name="T2" fmla="*/ 0 w 1116"/>
                <a:gd name="T3" fmla="*/ 0 h 60"/>
                <a:gd name="T4" fmla="*/ 0 w 1116"/>
                <a:gd name="T5" fmla="*/ 60 h 60"/>
                <a:gd name="T6" fmla="*/ 1116 w 1116"/>
                <a:gd name="T7" fmla="*/ 60 h 60"/>
                <a:gd name="T8" fmla="*/ 1111 w 111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6" h="60">
                  <a:moveTo>
                    <a:pt x="1111" y="0"/>
                  </a:moveTo>
                  <a:lnTo>
                    <a:pt x="0" y="0"/>
                  </a:lnTo>
                  <a:lnTo>
                    <a:pt x="0" y="60"/>
                  </a:lnTo>
                  <a:lnTo>
                    <a:pt x="1116" y="60"/>
                  </a:lnTo>
                  <a:lnTo>
                    <a:pt x="111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9" name="Freeform 57"/>
            <p:cNvSpPr>
              <a:spLocks/>
            </p:cNvSpPr>
            <p:nvPr/>
          </p:nvSpPr>
          <p:spPr bwMode="auto">
            <a:xfrm>
              <a:off x="6963853" y="692998"/>
              <a:ext cx="574315" cy="31516"/>
            </a:xfrm>
            <a:custGeom>
              <a:avLst/>
              <a:gdLst>
                <a:gd name="T0" fmla="*/ 1116 w 1116"/>
                <a:gd name="T1" fmla="*/ 0 h 60"/>
                <a:gd name="T2" fmla="*/ 5 w 1116"/>
                <a:gd name="T3" fmla="*/ 0 h 60"/>
                <a:gd name="T4" fmla="*/ 0 w 1116"/>
                <a:gd name="T5" fmla="*/ 60 h 60"/>
                <a:gd name="T6" fmla="*/ 1116 w 1116"/>
                <a:gd name="T7" fmla="*/ 60 h 60"/>
                <a:gd name="T8" fmla="*/ 1116 w 111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6" h="60">
                  <a:moveTo>
                    <a:pt x="1116" y="0"/>
                  </a:moveTo>
                  <a:lnTo>
                    <a:pt x="5" y="0"/>
                  </a:lnTo>
                  <a:lnTo>
                    <a:pt x="0" y="60"/>
                  </a:lnTo>
                  <a:lnTo>
                    <a:pt x="1116" y="60"/>
                  </a:lnTo>
                  <a:lnTo>
                    <a:pt x="111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0" name="Freeform 58"/>
            <p:cNvSpPr>
              <a:spLocks/>
            </p:cNvSpPr>
            <p:nvPr/>
          </p:nvSpPr>
          <p:spPr bwMode="auto">
            <a:xfrm>
              <a:off x="6031437" y="812309"/>
              <a:ext cx="132880" cy="123812"/>
            </a:xfrm>
            <a:custGeom>
              <a:avLst/>
              <a:gdLst>
                <a:gd name="T0" fmla="*/ 0 w 258"/>
                <a:gd name="T1" fmla="*/ 10 h 239"/>
                <a:gd name="T2" fmla="*/ 33 w 258"/>
                <a:gd name="T3" fmla="*/ 19 h 239"/>
                <a:gd name="T4" fmla="*/ 33 w 258"/>
                <a:gd name="T5" fmla="*/ 216 h 239"/>
                <a:gd name="T6" fmla="*/ 0 w 258"/>
                <a:gd name="T7" fmla="*/ 225 h 239"/>
                <a:gd name="T8" fmla="*/ 0 w 258"/>
                <a:gd name="T9" fmla="*/ 239 h 239"/>
                <a:gd name="T10" fmla="*/ 112 w 258"/>
                <a:gd name="T11" fmla="*/ 239 h 239"/>
                <a:gd name="T12" fmla="*/ 112 w 258"/>
                <a:gd name="T13" fmla="*/ 225 h 239"/>
                <a:gd name="T14" fmla="*/ 80 w 258"/>
                <a:gd name="T15" fmla="*/ 216 h 239"/>
                <a:gd name="T16" fmla="*/ 80 w 258"/>
                <a:gd name="T17" fmla="*/ 24 h 239"/>
                <a:gd name="T18" fmla="*/ 173 w 258"/>
                <a:gd name="T19" fmla="*/ 24 h 239"/>
                <a:gd name="T20" fmla="*/ 173 w 258"/>
                <a:gd name="T21" fmla="*/ 216 h 239"/>
                <a:gd name="T22" fmla="*/ 145 w 258"/>
                <a:gd name="T23" fmla="*/ 225 h 239"/>
                <a:gd name="T24" fmla="*/ 145 w 258"/>
                <a:gd name="T25" fmla="*/ 239 h 239"/>
                <a:gd name="T26" fmla="*/ 258 w 258"/>
                <a:gd name="T27" fmla="*/ 239 h 239"/>
                <a:gd name="T28" fmla="*/ 258 w 258"/>
                <a:gd name="T29" fmla="*/ 225 h 239"/>
                <a:gd name="T30" fmla="*/ 225 w 258"/>
                <a:gd name="T31" fmla="*/ 216 h 239"/>
                <a:gd name="T32" fmla="*/ 225 w 258"/>
                <a:gd name="T33" fmla="*/ 19 h 239"/>
                <a:gd name="T34" fmla="*/ 258 w 258"/>
                <a:gd name="T35" fmla="*/ 10 h 239"/>
                <a:gd name="T36" fmla="*/ 258 w 258"/>
                <a:gd name="T37" fmla="*/ 0 h 239"/>
                <a:gd name="T38" fmla="*/ 0 w 258"/>
                <a:gd name="T39" fmla="*/ 0 h 239"/>
                <a:gd name="T40" fmla="*/ 0 w 258"/>
                <a:gd name="T41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8" h="239">
                  <a:moveTo>
                    <a:pt x="0" y="10"/>
                  </a:moveTo>
                  <a:lnTo>
                    <a:pt x="33" y="19"/>
                  </a:lnTo>
                  <a:lnTo>
                    <a:pt x="3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80" y="216"/>
                  </a:lnTo>
                  <a:lnTo>
                    <a:pt x="80" y="24"/>
                  </a:lnTo>
                  <a:lnTo>
                    <a:pt x="173" y="24"/>
                  </a:lnTo>
                  <a:lnTo>
                    <a:pt x="173" y="216"/>
                  </a:lnTo>
                  <a:lnTo>
                    <a:pt x="145" y="225"/>
                  </a:lnTo>
                  <a:lnTo>
                    <a:pt x="145" y="239"/>
                  </a:lnTo>
                  <a:lnTo>
                    <a:pt x="258" y="239"/>
                  </a:lnTo>
                  <a:lnTo>
                    <a:pt x="258" y="225"/>
                  </a:lnTo>
                  <a:lnTo>
                    <a:pt x="225" y="216"/>
                  </a:lnTo>
                  <a:lnTo>
                    <a:pt x="225" y="19"/>
                  </a:lnTo>
                  <a:lnTo>
                    <a:pt x="258" y="10"/>
                  </a:lnTo>
                  <a:lnTo>
                    <a:pt x="258" y="0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1" name="Freeform 59"/>
            <p:cNvSpPr>
              <a:spLocks noEditPoints="1"/>
            </p:cNvSpPr>
            <p:nvPr/>
          </p:nvSpPr>
          <p:spPr bwMode="auto">
            <a:xfrm>
              <a:off x="6189091" y="812309"/>
              <a:ext cx="90089" cy="123812"/>
            </a:xfrm>
            <a:custGeom>
              <a:avLst/>
              <a:gdLst>
                <a:gd name="T0" fmla="*/ 108 w 173"/>
                <a:gd name="T1" fmla="*/ 0 h 239"/>
                <a:gd name="T2" fmla="*/ 98 w 173"/>
                <a:gd name="T3" fmla="*/ 0 h 239"/>
                <a:gd name="T4" fmla="*/ 0 w 173"/>
                <a:gd name="T5" fmla="*/ 0 h 239"/>
                <a:gd name="T6" fmla="*/ 0 w 173"/>
                <a:gd name="T7" fmla="*/ 10 h 239"/>
                <a:gd name="T8" fmla="*/ 28 w 173"/>
                <a:gd name="T9" fmla="*/ 19 h 239"/>
                <a:gd name="T10" fmla="*/ 28 w 173"/>
                <a:gd name="T11" fmla="*/ 216 h 239"/>
                <a:gd name="T12" fmla="*/ 0 w 173"/>
                <a:gd name="T13" fmla="*/ 225 h 239"/>
                <a:gd name="T14" fmla="*/ 0 w 173"/>
                <a:gd name="T15" fmla="*/ 239 h 239"/>
                <a:gd name="T16" fmla="*/ 98 w 173"/>
                <a:gd name="T17" fmla="*/ 239 h 239"/>
                <a:gd name="T18" fmla="*/ 112 w 173"/>
                <a:gd name="T19" fmla="*/ 239 h 239"/>
                <a:gd name="T20" fmla="*/ 112 w 173"/>
                <a:gd name="T21" fmla="*/ 225 h 239"/>
                <a:gd name="T22" fmla="*/ 98 w 173"/>
                <a:gd name="T23" fmla="*/ 221 h 239"/>
                <a:gd name="T24" fmla="*/ 70 w 173"/>
                <a:gd name="T25" fmla="*/ 216 h 239"/>
                <a:gd name="T26" fmla="*/ 70 w 173"/>
                <a:gd name="T27" fmla="*/ 136 h 239"/>
                <a:gd name="T28" fmla="*/ 89 w 173"/>
                <a:gd name="T29" fmla="*/ 136 h 239"/>
                <a:gd name="T30" fmla="*/ 98 w 173"/>
                <a:gd name="T31" fmla="*/ 136 h 239"/>
                <a:gd name="T32" fmla="*/ 131 w 173"/>
                <a:gd name="T33" fmla="*/ 132 h 239"/>
                <a:gd name="T34" fmla="*/ 154 w 173"/>
                <a:gd name="T35" fmla="*/ 117 h 239"/>
                <a:gd name="T36" fmla="*/ 169 w 173"/>
                <a:gd name="T37" fmla="*/ 94 h 239"/>
                <a:gd name="T38" fmla="*/ 173 w 173"/>
                <a:gd name="T39" fmla="*/ 61 h 239"/>
                <a:gd name="T40" fmla="*/ 164 w 173"/>
                <a:gd name="T41" fmla="*/ 33 h 239"/>
                <a:gd name="T42" fmla="*/ 154 w 173"/>
                <a:gd name="T43" fmla="*/ 14 h 239"/>
                <a:gd name="T44" fmla="*/ 131 w 173"/>
                <a:gd name="T45" fmla="*/ 0 h 239"/>
                <a:gd name="T46" fmla="*/ 108 w 173"/>
                <a:gd name="T47" fmla="*/ 0 h 239"/>
                <a:gd name="T48" fmla="*/ 98 w 173"/>
                <a:gd name="T49" fmla="*/ 122 h 239"/>
                <a:gd name="T50" fmla="*/ 98 w 173"/>
                <a:gd name="T51" fmla="*/ 122 h 239"/>
                <a:gd name="T52" fmla="*/ 84 w 173"/>
                <a:gd name="T53" fmla="*/ 122 h 239"/>
                <a:gd name="T54" fmla="*/ 70 w 173"/>
                <a:gd name="T55" fmla="*/ 122 h 239"/>
                <a:gd name="T56" fmla="*/ 70 w 173"/>
                <a:gd name="T57" fmla="*/ 14 h 239"/>
                <a:gd name="T58" fmla="*/ 84 w 173"/>
                <a:gd name="T59" fmla="*/ 14 h 239"/>
                <a:gd name="T60" fmla="*/ 89 w 173"/>
                <a:gd name="T61" fmla="*/ 14 h 239"/>
                <a:gd name="T62" fmla="*/ 98 w 173"/>
                <a:gd name="T63" fmla="*/ 19 h 239"/>
                <a:gd name="T64" fmla="*/ 108 w 173"/>
                <a:gd name="T65" fmla="*/ 24 h 239"/>
                <a:gd name="T66" fmla="*/ 117 w 173"/>
                <a:gd name="T67" fmla="*/ 33 h 239"/>
                <a:gd name="T68" fmla="*/ 122 w 173"/>
                <a:gd name="T69" fmla="*/ 47 h 239"/>
                <a:gd name="T70" fmla="*/ 126 w 173"/>
                <a:gd name="T71" fmla="*/ 71 h 239"/>
                <a:gd name="T72" fmla="*/ 122 w 173"/>
                <a:gd name="T73" fmla="*/ 103 h 239"/>
                <a:gd name="T74" fmla="*/ 112 w 173"/>
                <a:gd name="T75" fmla="*/ 113 h 239"/>
                <a:gd name="T76" fmla="*/ 98 w 173"/>
                <a:gd name="T77" fmla="*/ 122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73" h="239">
                  <a:moveTo>
                    <a:pt x="108" y="0"/>
                  </a:moveTo>
                  <a:lnTo>
                    <a:pt x="98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98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98" y="221"/>
                  </a:lnTo>
                  <a:lnTo>
                    <a:pt x="70" y="216"/>
                  </a:lnTo>
                  <a:lnTo>
                    <a:pt x="70" y="136"/>
                  </a:lnTo>
                  <a:lnTo>
                    <a:pt x="89" y="136"/>
                  </a:lnTo>
                  <a:lnTo>
                    <a:pt x="98" y="136"/>
                  </a:lnTo>
                  <a:lnTo>
                    <a:pt x="131" y="132"/>
                  </a:lnTo>
                  <a:lnTo>
                    <a:pt x="154" y="117"/>
                  </a:lnTo>
                  <a:lnTo>
                    <a:pt x="169" y="94"/>
                  </a:lnTo>
                  <a:lnTo>
                    <a:pt x="173" y="61"/>
                  </a:lnTo>
                  <a:lnTo>
                    <a:pt x="164" y="33"/>
                  </a:lnTo>
                  <a:lnTo>
                    <a:pt x="154" y="14"/>
                  </a:lnTo>
                  <a:lnTo>
                    <a:pt x="131" y="0"/>
                  </a:lnTo>
                  <a:lnTo>
                    <a:pt x="108" y="0"/>
                  </a:lnTo>
                  <a:close/>
                  <a:moveTo>
                    <a:pt x="98" y="122"/>
                  </a:moveTo>
                  <a:lnTo>
                    <a:pt x="98" y="122"/>
                  </a:lnTo>
                  <a:lnTo>
                    <a:pt x="84" y="122"/>
                  </a:lnTo>
                  <a:lnTo>
                    <a:pt x="70" y="122"/>
                  </a:lnTo>
                  <a:lnTo>
                    <a:pt x="70" y="14"/>
                  </a:lnTo>
                  <a:lnTo>
                    <a:pt x="84" y="14"/>
                  </a:lnTo>
                  <a:lnTo>
                    <a:pt x="89" y="14"/>
                  </a:lnTo>
                  <a:lnTo>
                    <a:pt x="98" y="19"/>
                  </a:lnTo>
                  <a:lnTo>
                    <a:pt x="108" y="24"/>
                  </a:lnTo>
                  <a:lnTo>
                    <a:pt x="117" y="33"/>
                  </a:lnTo>
                  <a:lnTo>
                    <a:pt x="122" y="47"/>
                  </a:lnTo>
                  <a:lnTo>
                    <a:pt x="126" y="71"/>
                  </a:lnTo>
                  <a:lnTo>
                    <a:pt x="122" y="103"/>
                  </a:lnTo>
                  <a:lnTo>
                    <a:pt x="112" y="113"/>
                  </a:lnTo>
                  <a:lnTo>
                    <a:pt x="98" y="1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2" name="Freeform 60"/>
            <p:cNvSpPr>
              <a:spLocks noEditPoints="1"/>
            </p:cNvSpPr>
            <p:nvPr/>
          </p:nvSpPr>
          <p:spPr bwMode="auto">
            <a:xfrm>
              <a:off x="6301702" y="810057"/>
              <a:ext cx="121619" cy="126063"/>
            </a:xfrm>
            <a:custGeom>
              <a:avLst/>
              <a:gdLst>
                <a:gd name="T0" fmla="*/ 117 w 235"/>
                <a:gd name="T1" fmla="*/ 0 h 243"/>
                <a:gd name="T2" fmla="*/ 113 w 235"/>
                <a:gd name="T3" fmla="*/ 0 h 243"/>
                <a:gd name="T4" fmla="*/ 66 w 235"/>
                <a:gd name="T5" fmla="*/ 4 h 243"/>
                <a:gd name="T6" fmla="*/ 28 w 235"/>
                <a:gd name="T7" fmla="*/ 28 h 243"/>
                <a:gd name="T8" fmla="*/ 5 w 235"/>
                <a:gd name="T9" fmla="*/ 65 h 243"/>
                <a:gd name="T10" fmla="*/ 0 w 235"/>
                <a:gd name="T11" fmla="*/ 117 h 243"/>
                <a:gd name="T12" fmla="*/ 5 w 235"/>
                <a:gd name="T13" fmla="*/ 173 h 243"/>
                <a:gd name="T14" fmla="*/ 28 w 235"/>
                <a:gd name="T15" fmla="*/ 211 h 243"/>
                <a:gd name="T16" fmla="*/ 66 w 235"/>
                <a:gd name="T17" fmla="*/ 234 h 243"/>
                <a:gd name="T18" fmla="*/ 113 w 235"/>
                <a:gd name="T19" fmla="*/ 243 h 243"/>
                <a:gd name="T20" fmla="*/ 117 w 235"/>
                <a:gd name="T21" fmla="*/ 243 h 243"/>
                <a:gd name="T22" fmla="*/ 164 w 235"/>
                <a:gd name="T23" fmla="*/ 234 h 243"/>
                <a:gd name="T24" fmla="*/ 202 w 235"/>
                <a:gd name="T25" fmla="*/ 211 h 243"/>
                <a:gd name="T26" fmla="*/ 225 w 235"/>
                <a:gd name="T27" fmla="*/ 173 h 243"/>
                <a:gd name="T28" fmla="*/ 235 w 235"/>
                <a:gd name="T29" fmla="*/ 117 h 243"/>
                <a:gd name="T30" fmla="*/ 225 w 235"/>
                <a:gd name="T31" fmla="*/ 65 h 243"/>
                <a:gd name="T32" fmla="*/ 202 w 235"/>
                <a:gd name="T33" fmla="*/ 28 h 243"/>
                <a:gd name="T34" fmla="*/ 164 w 235"/>
                <a:gd name="T35" fmla="*/ 4 h 243"/>
                <a:gd name="T36" fmla="*/ 117 w 235"/>
                <a:gd name="T37" fmla="*/ 0 h 243"/>
                <a:gd name="T38" fmla="*/ 117 w 235"/>
                <a:gd name="T39" fmla="*/ 229 h 243"/>
                <a:gd name="T40" fmla="*/ 117 w 235"/>
                <a:gd name="T41" fmla="*/ 229 h 243"/>
                <a:gd name="T42" fmla="*/ 113 w 235"/>
                <a:gd name="T43" fmla="*/ 229 h 243"/>
                <a:gd name="T44" fmla="*/ 89 w 235"/>
                <a:gd name="T45" fmla="*/ 220 h 243"/>
                <a:gd name="T46" fmla="*/ 70 w 235"/>
                <a:gd name="T47" fmla="*/ 201 h 243"/>
                <a:gd name="T48" fmla="*/ 56 w 235"/>
                <a:gd name="T49" fmla="*/ 164 h 243"/>
                <a:gd name="T50" fmla="*/ 52 w 235"/>
                <a:gd name="T51" fmla="*/ 140 h 243"/>
                <a:gd name="T52" fmla="*/ 52 w 235"/>
                <a:gd name="T53" fmla="*/ 112 h 243"/>
                <a:gd name="T54" fmla="*/ 56 w 235"/>
                <a:gd name="T55" fmla="*/ 65 h 243"/>
                <a:gd name="T56" fmla="*/ 70 w 235"/>
                <a:gd name="T57" fmla="*/ 37 h 243"/>
                <a:gd name="T58" fmla="*/ 89 w 235"/>
                <a:gd name="T59" fmla="*/ 18 h 243"/>
                <a:gd name="T60" fmla="*/ 113 w 235"/>
                <a:gd name="T61" fmla="*/ 9 h 243"/>
                <a:gd name="T62" fmla="*/ 141 w 235"/>
                <a:gd name="T63" fmla="*/ 18 h 243"/>
                <a:gd name="T64" fmla="*/ 160 w 235"/>
                <a:gd name="T65" fmla="*/ 42 h 243"/>
                <a:gd name="T66" fmla="*/ 174 w 235"/>
                <a:gd name="T67" fmla="*/ 75 h 243"/>
                <a:gd name="T68" fmla="*/ 178 w 235"/>
                <a:gd name="T69" fmla="*/ 126 h 243"/>
                <a:gd name="T70" fmla="*/ 174 w 235"/>
                <a:gd name="T71" fmla="*/ 164 h 243"/>
                <a:gd name="T72" fmla="*/ 164 w 235"/>
                <a:gd name="T73" fmla="*/ 197 h 243"/>
                <a:gd name="T74" fmla="*/ 145 w 235"/>
                <a:gd name="T75" fmla="*/ 220 h 243"/>
                <a:gd name="T76" fmla="*/ 131 w 235"/>
                <a:gd name="T77" fmla="*/ 225 h 243"/>
                <a:gd name="T78" fmla="*/ 117 w 235"/>
                <a:gd name="T79" fmla="*/ 229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35" h="243">
                  <a:moveTo>
                    <a:pt x="117" y="0"/>
                  </a:moveTo>
                  <a:lnTo>
                    <a:pt x="113" y="0"/>
                  </a:lnTo>
                  <a:lnTo>
                    <a:pt x="66" y="4"/>
                  </a:lnTo>
                  <a:lnTo>
                    <a:pt x="28" y="28"/>
                  </a:lnTo>
                  <a:lnTo>
                    <a:pt x="5" y="65"/>
                  </a:lnTo>
                  <a:lnTo>
                    <a:pt x="0" y="117"/>
                  </a:lnTo>
                  <a:lnTo>
                    <a:pt x="5" y="173"/>
                  </a:lnTo>
                  <a:lnTo>
                    <a:pt x="28" y="211"/>
                  </a:lnTo>
                  <a:lnTo>
                    <a:pt x="66" y="234"/>
                  </a:lnTo>
                  <a:lnTo>
                    <a:pt x="113" y="243"/>
                  </a:lnTo>
                  <a:lnTo>
                    <a:pt x="117" y="243"/>
                  </a:lnTo>
                  <a:lnTo>
                    <a:pt x="164" y="234"/>
                  </a:lnTo>
                  <a:lnTo>
                    <a:pt x="202" y="211"/>
                  </a:lnTo>
                  <a:lnTo>
                    <a:pt x="225" y="173"/>
                  </a:lnTo>
                  <a:lnTo>
                    <a:pt x="235" y="117"/>
                  </a:lnTo>
                  <a:lnTo>
                    <a:pt x="225" y="65"/>
                  </a:lnTo>
                  <a:lnTo>
                    <a:pt x="202" y="28"/>
                  </a:lnTo>
                  <a:lnTo>
                    <a:pt x="164" y="4"/>
                  </a:lnTo>
                  <a:lnTo>
                    <a:pt x="117" y="0"/>
                  </a:lnTo>
                  <a:close/>
                  <a:moveTo>
                    <a:pt x="117" y="229"/>
                  </a:moveTo>
                  <a:lnTo>
                    <a:pt x="117" y="229"/>
                  </a:lnTo>
                  <a:lnTo>
                    <a:pt x="113" y="229"/>
                  </a:lnTo>
                  <a:lnTo>
                    <a:pt x="89" y="220"/>
                  </a:lnTo>
                  <a:lnTo>
                    <a:pt x="70" y="201"/>
                  </a:lnTo>
                  <a:lnTo>
                    <a:pt x="56" y="164"/>
                  </a:lnTo>
                  <a:lnTo>
                    <a:pt x="52" y="140"/>
                  </a:lnTo>
                  <a:lnTo>
                    <a:pt x="52" y="112"/>
                  </a:lnTo>
                  <a:lnTo>
                    <a:pt x="56" y="65"/>
                  </a:lnTo>
                  <a:lnTo>
                    <a:pt x="70" y="37"/>
                  </a:lnTo>
                  <a:lnTo>
                    <a:pt x="89" y="18"/>
                  </a:lnTo>
                  <a:lnTo>
                    <a:pt x="113" y="9"/>
                  </a:lnTo>
                  <a:lnTo>
                    <a:pt x="141" y="18"/>
                  </a:lnTo>
                  <a:lnTo>
                    <a:pt x="160" y="42"/>
                  </a:lnTo>
                  <a:lnTo>
                    <a:pt x="174" y="75"/>
                  </a:lnTo>
                  <a:lnTo>
                    <a:pt x="178" y="126"/>
                  </a:lnTo>
                  <a:lnTo>
                    <a:pt x="174" y="164"/>
                  </a:lnTo>
                  <a:lnTo>
                    <a:pt x="164" y="197"/>
                  </a:lnTo>
                  <a:lnTo>
                    <a:pt x="145" y="220"/>
                  </a:lnTo>
                  <a:lnTo>
                    <a:pt x="131" y="225"/>
                  </a:lnTo>
                  <a:lnTo>
                    <a:pt x="117" y="2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3" name="Freeform 61"/>
            <p:cNvSpPr>
              <a:spLocks/>
            </p:cNvSpPr>
            <p:nvPr/>
          </p:nvSpPr>
          <p:spPr bwMode="auto">
            <a:xfrm>
              <a:off x="6452601" y="810057"/>
              <a:ext cx="110358" cy="126063"/>
            </a:xfrm>
            <a:custGeom>
              <a:avLst/>
              <a:gdLst>
                <a:gd name="T0" fmla="*/ 136 w 215"/>
                <a:gd name="T1" fmla="*/ 225 h 243"/>
                <a:gd name="T2" fmla="*/ 117 w 215"/>
                <a:gd name="T3" fmla="*/ 225 h 243"/>
                <a:gd name="T4" fmla="*/ 103 w 215"/>
                <a:gd name="T5" fmla="*/ 215 h 243"/>
                <a:gd name="T6" fmla="*/ 75 w 215"/>
                <a:gd name="T7" fmla="*/ 192 h 243"/>
                <a:gd name="T8" fmla="*/ 56 w 215"/>
                <a:gd name="T9" fmla="*/ 154 h 243"/>
                <a:gd name="T10" fmla="*/ 51 w 215"/>
                <a:gd name="T11" fmla="*/ 117 h 243"/>
                <a:gd name="T12" fmla="*/ 56 w 215"/>
                <a:gd name="T13" fmla="*/ 75 h 243"/>
                <a:gd name="T14" fmla="*/ 70 w 215"/>
                <a:gd name="T15" fmla="*/ 42 h 243"/>
                <a:gd name="T16" fmla="*/ 94 w 215"/>
                <a:gd name="T17" fmla="*/ 23 h 243"/>
                <a:gd name="T18" fmla="*/ 126 w 215"/>
                <a:gd name="T19" fmla="*/ 14 h 243"/>
                <a:gd name="T20" fmla="*/ 150 w 215"/>
                <a:gd name="T21" fmla="*/ 18 h 243"/>
                <a:gd name="T22" fmla="*/ 173 w 215"/>
                <a:gd name="T23" fmla="*/ 32 h 243"/>
                <a:gd name="T24" fmla="*/ 187 w 215"/>
                <a:gd name="T25" fmla="*/ 51 h 243"/>
                <a:gd name="T26" fmla="*/ 192 w 215"/>
                <a:gd name="T27" fmla="*/ 75 h 243"/>
                <a:gd name="T28" fmla="*/ 206 w 215"/>
                <a:gd name="T29" fmla="*/ 75 h 243"/>
                <a:gd name="T30" fmla="*/ 206 w 215"/>
                <a:gd name="T31" fmla="*/ 9 h 243"/>
                <a:gd name="T32" fmla="*/ 192 w 215"/>
                <a:gd name="T33" fmla="*/ 9 h 243"/>
                <a:gd name="T34" fmla="*/ 155 w 215"/>
                <a:gd name="T35" fmla="*/ 0 h 243"/>
                <a:gd name="T36" fmla="*/ 122 w 215"/>
                <a:gd name="T37" fmla="*/ 0 h 243"/>
                <a:gd name="T38" fmla="*/ 75 w 215"/>
                <a:gd name="T39" fmla="*/ 4 h 243"/>
                <a:gd name="T40" fmla="*/ 33 w 215"/>
                <a:gd name="T41" fmla="*/ 28 h 243"/>
                <a:gd name="T42" fmla="*/ 9 w 215"/>
                <a:gd name="T43" fmla="*/ 61 h 243"/>
                <a:gd name="T44" fmla="*/ 0 w 215"/>
                <a:gd name="T45" fmla="*/ 84 h 243"/>
                <a:gd name="T46" fmla="*/ 0 w 215"/>
                <a:gd name="T47" fmla="*/ 112 h 243"/>
                <a:gd name="T48" fmla="*/ 0 w 215"/>
                <a:gd name="T49" fmla="*/ 140 h 243"/>
                <a:gd name="T50" fmla="*/ 4 w 215"/>
                <a:gd name="T51" fmla="*/ 168 h 243"/>
                <a:gd name="T52" fmla="*/ 33 w 215"/>
                <a:gd name="T53" fmla="*/ 206 h 243"/>
                <a:gd name="T54" fmla="*/ 70 w 215"/>
                <a:gd name="T55" fmla="*/ 234 h 243"/>
                <a:gd name="T56" fmla="*/ 122 w 215"/>
                <a:gd name="T57" fmla="*/ 243 h 243"/>
                <a:gd name="T58" fmla="*/ 155 w 215"/>
                <a:gd name="T59" fmla="*/ 239 h 243"/>
                <a:gd name="T60" fmla="*/ 178 w 215"/>
                <a:gd name="T61" fmla="*/ 234 h 243"/>
                <a:gd name="T62" fmla="*/ 197 w 215"/>
                <a:gd name="T63" fmla="*/ 225 h 243"/>
                <a:gd name="T64" fmla="*/ 215 w 215"/>
                <a:gd name="T65" fmla="*/ 220 h 243"/>
                <a:gd name="T66" fmla="*/ 215 w 215"/>
                <a:gd name="T67" fmla="*/ 182 h 243"/>
                <a:gd name="T68" fmla="*/ 206 w 215"/>
                <a:gd name="T69" fmla="*/ 182 h 243"/>
                <a:gd name="T70" fmla="*/ 197 w 215"/>
                <a:gd name="T71" fmla="*/ 201 h 243"/>
                <a:gd name="T72" fmla="*/ 178 w 215"/>
                <a:gd name="T73" fmla="*/ 215 h 243"/>
                <a:gd name="T74" fmla="*/ 159 w 215"/>
                <a:gd name="T75" fmla="*/ 225 h 243"/>
                <a:gd name="T76" fmla="*/ 136 w 215"/>
                <a:gd name="T77" fmla="*/ 22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15" h="243">
                  <a:moveTo>
                    <a:pt x="136" y="225"/>
                  </a:moveTo>
                  <a:lnTo>
                    <a:pt x="117" y="225"/>
                  </a:lnTo>
                  <a:lnTo>
                    <a:pt x="103" y="215"/>
                  </a:lnTo>
                  <a:lnTo>
                    <a:pt x="75" y="192"/>
                  </a:lnTo>
                  <a:lnTo>
                    <a:pt x="56" y="154"/>
                  </a:lnTo>
                  <a:lnTo>
                    <a:pt x="51" y="117"/>
                  </a:lnTo>
                  <a:lnTo>
                    <a:pt x="56" y="75"/>
                  </a:lnTo>
                  <a:lnTo>
                    <a:pt x="70" y="42"/>
                  </a:lnTo>
                  <a:lnTo>
                    <a:pt x="94" y="23"/>
                  </a:lnTo>
                  <a:lnTo>
                    <a:pt x="126" y="14"/>
                  </a:lnTo>
                  <a:lnTo>
                    <a:pt x="150" y="18"/>
                  </a:lnTo>
                  <a:lnTo>
                    <a:pt x="173" y="32"/>
                  </a:lnTo>
                  <a:lnTo>
                    <a:pt x="187" y="51"/>
                  </a:lnTo>
                  <a:lnTo>
                    <a:pt x="192" y="75"/>
                  </a:lnTo>
                  <a:lnTo>
                    <a:pt x="206" y="75"/>
                  </a:lnTo>
                  <a:lnTo>
                    <a:pt x="206" y="9"/>
                  </a:lnTo>
                  <a:lnTo>
                    <a:pt x="192" y="9"/>
                  </a:lnTo>
                  <a:lnTo>
                    <a:pt x="155" y="0"/>
                  </a:lnTo>
                  <a:lnTo>
                    <a:pt x="122" y="0"/>
                  </a:lnTo>
                  <a:lnTo>
                    <a:pt x="75" y="4"/>
                  </a:lnTo>
                  <a:lnTo>
                    <a:pt x="33" y="28"/>
                  </a:lnTo>
                  <a:lnTo>
                    <a:pt x="9" y="61"/>
                  </a:lnTo>
                  <a:lnTo>
                    <a:pt x="0" y="84"/>
                  </a:lnTo>
                  <a:lnTo>
                    <a:pt x="0" y="112"/>
                  </a:lnTo>
                  <a:lnTo>
                    <a:pt x="0" y="140"/>
                  </a:lnTo>
                  <a:lnTo>
                    <a:pt x="4" y="168"/>
                  </a:lnTo>
                  <a:lnTo>
                    <a:pt x="33" y="206"/>
                  </a:lnTo>
                  <a:lnTo>
                    <a:pt x="70" y="234"/>
                  </a:lnTo>
                  <a:lnTo>
                    <a:pt x="122" y="243"/>
                  </a:lnTo>
                  <a:lnTo>
                    <a:pt x="155" y="239"/>
                  </a:lnTo>
                  <a:lnTo>
                    <a:pt x="178" y="234"/>
                  </a:lnTo>
                  <a:lnTo>
                    <a:pt x="197" y="225"/>
                  </a:lnTo>
                  <a:lnTo>
                    <a:pt x="215" y="220"/>
                  </a:lnTo>
                  <a:lnTo>
                    <a:pt x="215" y="182"/>
                  </a:lnTo>
                  <a:lnTo>
                    <a:pt x="206" y="182"/>
                  </a:lnTo>
                  <a:lnTo>
                    <a:pt x="197" y="201"/>
                  </a:lnTo>
                  <a:lnTo>
                    <a:pt x="178" y="215"/>
                  </a:lnTo>
                  <a:lnTo>
                    <a:pt x="159" y="225"/>
                  </a:lnTo>
                  <a:lnTo>
                    <a:pt x="136" y="22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4" name="Freeform 62"/>
            <p:cNvSpPr>
              <a:spLocks noEditPoints="1"/>
            </p:cNvSpPr>
            <p:nvPr/>
          </p:nvSpPr>
          <p:spPr bwMode="auto">
            <a:xfrm>
              <a:off x="6587734" y="812309"/>
              <a:ext cx="96846" cy="123812"/>
            </a:xfrm>
            <a:custGeom>
              <a:avLst/>
              <a:gdLst>
                <a:gd name="T0" fmla="*/ 127 w 188"/>
                <a:gd name="T1" fmla="*/ 113 h 239"/>
                <a:gd name="T2" fmla="*/ 127 w 188"/>
                <a:gd name="T3" fmla="*/ 108 h 239"/>
                <a:gd name="T4" fmla="*/ 146 w 188"/>
                <a:gd name="T5" fmla="*/ 103 h 239"/>
                <a:gd name="T6" fmla="*/ 164 w 188"/>
                <a:gd name="T7" fmla="*/ 89 h 239"/>
                <a:gd name="T8" fmla="*/ 174 w 188"/>
                <a:gd name="T9" fmla="*/ 75 h 239"/>
                <a:gd name="T10" fmla="*/ 179 w 188"/>
                <a:gd name="T11" fmla="*/ 52 h 239"/>
                <a:gd name="T12" fmla="*/ 169 w 188"/>
                <a:gd name="T13" fmla="*/ 28 h 239"/>
                <a:gd name="T14" fmla="*/ 155 w 188"/>
                <a:gd name="T15" fmla="*/ 10 h 239"/>
                <a:gd name="T16" fmla="*/ 132 w 188"/>
                <a:gd name="T17" fmla="*/ 0 h 239"/>
                <a:gd name="T18" fmla="*/ 104 w 188"/>
                <a:gd name="T19" fmla="*/ 0 h 239"/>
                <a:gd name="T20" fmla="*/ 0 w 188"/>
                <a:gd name="T21" fmla="*/ 0 h 239"/>
                <a:gd name="T22" fmla="*/ 0 w 188"/>
                <a:gd name="T23" fmla="*/ 10 h 239"/>
                <a:gd name="T24" fmla="*/ 29 w 188"/>
                <a:gd name="T25" fmla="*/ 19 h 239"/>
                <a:gd name="T26" fmla="*/ 29 w 188"/>
                <a:gd name="T27" fmla="*/ 216 h 239"/>
                <a:gd name="T28" fmla="*/ 0 w 188"/>
                <a:gd name="T29" fmla="*/ 225 h 239"/>
                <a:gd name="T30" fmla="*/ 0 w 188"/>
                <a:gd name="T31" fmla="*/ 239 h 239"/>
                <a:gd name="T32" fmla="*/ 104 w 188"/>
                <a:gd name="T33" fmla="*/ 239 h 239"/>
                <a:gd name="T34" fmla="*/ 108 w 188"/>
                <a:gd name="T35" fmla="*/ 239 h 239"/>
                <a:gd name="T36" fmla="*/ 136 w 188"/>
                <a:gd name="T37" fmla="*/ 235 h 239"/>
                <a:gd name="T38" fmla="*/ 164 w 188"/>
                <a:gd name="T39" fmla="*/ 221 h 239"/>
                <a:gd name="T40" fmla="*/ 179 w 188"/>
                <a:gd name="T41" fmla="*/ 202 h 239"/>
                <a:gd name="T42" fmla="*/ 188 w 188"/>
                <a:gd name="T43" fmla="*/ 174 h 239"/>
                <a:gd name="T44" fmla="*/ 183 w 188"/>
                <a:gd name="T45" fmla="*/ 146 h 239"/>
                <a:gd name="T46" fmla="*/ 169 w 188"/>
                <a:gd name="T47" fmla="*/ 132 h 239"/>
                <a:gd name="T48" fmla="*/ 150 w 188"/>
                <a:gd name="T49" fmla="*/ 117 h 239"/>
                <a:gd name="T50" fmla="*/ 127 w 188"/>
                <a:gd name="T51" fmla="*/ 113 h 239"/>
                <a:gd name="T52" fmla="*/ 75 w 188"/>
                <a:gd name="T53" fmla="*/ 14 h 239"/>
                <a:gd name="T54" fmla="*/ 75 w 188"/>
                <a:gd name="T55" fmla="*/ 14 h 239"/>
                <a:gd name="T56" fmla="*/ 89 w 188"/>
                <a:gd name="T57" fmla="*/ 14 h 239"/>
                <a:gd name="T58" fmla="*/ 104 w 188"/>
                <a:gd name="T59" fmla="*/ 19 h 239"/>
                <a:gd name="T60" fmla="*/ 122 w 188"/>
                <a:gd name="T61" fmla="*/ 33 h 239"/>
                <a:gd name="T62" fmla="*/ 127 w 188"/>
                <a:gd name="T63" fmla="*/ 42 h 239"/>
                <a:gd name="T64" fmla="*/ 127 w 188"/>
                <a:gd name="T65" fmla="*/ 61 h 239"/>
                <a:gd name="T66" fmla="*/ 122 w 188"/>
                <a:gd name="T67" fmla="*/ 89 h 239"/>
                <a:gd name="T68" fmla="*/ 113 w 188"/>
                <a:gd name="T69" fmla="*/ 99 h 239"/>
                <a:gd name="T70" fmla="*/ 104 w 188"/>
                <a:gd name="T71" fmla="*/ 103 h 239"/>
                <a:gd name="T72" fmla="*/ 94 w 188"/>
                <a:gd name="T73" fmla="*/ 108 h 239"/>
                <a:gd name="T74" fmla="*/ 75 w 188"/>
                <a:gd name="T75" fmla="*/ 108 h 239"/>
                <a:gd name="T76" fmla="*/ 75 w 188"/>
                <a:gd name="T77" fmla="*/ 14 h 239"/>
                <a:gd name="T78" fmla="*/ 104 w 188"/>
                <a:gd name="T79" fmla="*/ 221 h 239"/>
                <a:gd name="T80" fmla="*/ 104 w 188"/>
                <a:gd name="T81" fmla="*/ 221 h 239"/>
                <a:gd name="T82" fmla="*/ 85 w 188"/>
                <a:gd name="T83" fmla="*/ 216 h 239"/>
                <a:gd name="T84" fmla="*/ 75 w 188"/>
                <a:gd name="T85" fmla="*/ 207 h 239"/>
                <a:gd name="T86" fmla="*/ 75 w 188"/>
                <a:gd name="T87" fmla="*/ 117 h 239"/>
                <a:gd name="T88" fmla="*/ 94 w 188"/>
                <a:gd name="T89" fmla="*/ 117 h 239"/>
                <a:gd name="T90" fmla="*/ 104 w 188"/>
                <a:gd name="T91" fmla="*/ 117 h 239"/>
                <a:gd name="T92" fmla="*/ 118 w 188"/>
                <a:gd name="T93" fmla="*/ 127 h 239"/>
                <a:gd name="T94" fmla="*/ 132 w 188"/>
                <a:gd name="T95" fmla="*/ 136 h 239"/>
                <a:gd name="T96" fmla="*/ 136 w 188"/>
                <a:gd name="T97" fmla="*/ 155 h 239"/>
                <a:gd name="T98" fmla="*/ 136 w 188"/>
                <a:gd name="T99" fmla="*/ 174 h 239"/>
                <a:gd name="T100" fmla="*/ 136 w 188"/>
                <a:gd name="T101" fmla="*/ 193 h 239"/>
                <a:gd name="T102" fmla="*/ 132 w 188"/>
                <a:gd name="T103" fmla="*/ 207 h 239"/>
                <a:gd name="T104" fmla="*/ 118 w 188"/>
                <a:gd name="T105" fmla="*/ 216 h 239"/>
                <a:gd name="T106" fmla="*/ 104 w 188"/>
                <a:gd name="T107" fmla="*/ 221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88" h="239">
                  <a:moveTo>
                    <a:pt x="127" y="113"/>
                  </a:moveTo>
                  <a:lnTo>
                    <a:pt x="127" y="108"/>
                  </a:lnTo>
                  <a:lnTo>
                    <a:pt x="146" y="103"/>
                  </a:lnTo>
                  <a:lnTo>
                    <a:pt x="164" y="89"/>
                  </a:lnTo>
                  <a:lnTo>
                    <a:pt x="174" y="75"/>
                  </a:lnTo>
                  <a:lnTo>
                    <a:pt x="179" y="52"/>
                  </a:lnTo>
                  <a:lnTo>
                    <a:pt x="169" y="28"/>
                  </a:lnTo>
                  <a:lnTo>
                    <a:pt x="155" y="10"/>
                  </a:lnTo>
                  <a:lnTo>
                    <a:pt x="132" y="0"/>
                  </a:lnTo>
                  <a:lnTo>
                    <a:pt x="10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9" y="19"/>
                  </a:lnTo>
                  <a:lnTo>
                    <a:pt x="29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04" y="239"/>
                  </a:lnTo>
                  <a:lnTo>
                    <a:pt x="108" y="239"/>
                  </a:lnTo>
                  <a:lnTo>
                    <a:pt x="136" y="235"/>
                  </a:lnTo>
                  <a:lnTo>
                    <a:pt x="164" y="221"/>
                  </a:lnTo>
                  <a:lnTo>
                    <a:pt x="179" y="202"/>
                  </a:lnTo>
                  <a:lnTo>
                    <a:pt x="188" y="174"/>
                  </a:lnTo>
                  <a:lnTo>
                    <a:pt x="183" y="146"/>
                  </a:lnTo>
                  <a:lnTo>
                    <a:pt x="169" y="132"/>
                  </a:lnTo>
                  <a:lnTo>
                    <a:pt x="150" y="117"/>
                  </a:lnTo>
                  <a:lnTo>
                    <a:pt x="127" y="113"/>
                  </a:lnTo>
                  <a:close/>
                  <a:moveTo>
                    <a:pt x="75" y="14"/>
                  </a:moveTo>
                  <a:lnTo>
                    <a:pt x="75" y="14"/>
                  </a:lnTo>
                  <a:lnTo>
                    <a:pt x="89" y="14"/>
                  </a:lnTo>
                  <a:lnTo>
                    <a:pt x="104" y="19"/>
                  </a:lnTo>
                  <a:lnTo>
                    <a:pt x="122" y="33"/>
                  </a:lnTo>
                  <a:lnTo>
                    <a:pt x="127" y="42"/>
                  </a:lnTo>
                  <a:lnTo>
                    <a:pt x="127" y="61"/>
                  </a:lnTo>
                  <a:lnTo>
                    <a:pt x="122" y="89"/>
                  </a:lnTo>
                  <a:lnTo>
                    <a:pt x="113" y="99"/>
                  </a:lnTo>
                  <a:lnTo>
                    <a:pt x="104" y="103"/>
                  </a:lnTo>
                  <a:lnTo>
                    <a:pt x="94" y="108"/>
                  </a:lnTo>
                  <a:lnTo>
                    <a:pt x="75" y="108"/>
                  </a:lnTo>
                  <a:lnTo>
                    <a:pt x="75" y="14"/>
                  </a:lnTo>
                  <a:close/>
                  <a:moveTo>
                    <a:pt x="104" y="221"/>
                  </a:moveTo>
                  <a:lnTo>
                    <a:pt x="104" y="221"/>
                  </a:lnTo>
                  <a:lnTo>
                    <a:pt x="85" y="216"/>
                  </a:lnTo>
                  <a:lnTo>
                    <a:pt x="75" y="207"/>
                  </a:lnTo>
                  <a:lnTo>
                    <a:pt x="75" y="117"/>
                  </a:lnTo>
                  <a:lnTo>
                    <a:pt x="94" y="117"/>
                  </a:lnTo>
                  <a:lnTo>
                    <a:pt x="104" y="117"/>
                  </a:lnTo>
                  <a:lnTo>
                    <a:pt x="118" y="127"/>
                  </a:lnTo>
                  <a:lnTo>
                    <a:pt x="132" y="136"/>
                  </a:lnTo>
                  <a:lnTo>
                    <a:pt x="136" y="155"/>
                  </a:lnTo>
                  <a:lnTo>
                    <a:pt x="136" y="174"/>
                  </a:lnTo>
                  <a:lnTo>
                    <a:pt x="136" y="193"/>
                  </a:lnTo>
                  <a:lnTo>
                    <a:pt x="132" y="207"/>
                  </a:lnTo>
                  <a:lnTo>
                    <a:pt x="118" y="216"/>
                  </a:lnTo>
                  <a:lnTo>
                    <a:pt x="104" y="2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5" name="Freeform 63"/>
            <p:cNvSpPr>
              <a:spLocks/>
            </p:cNvSpPr>
            <p:nvPr/>
          </p:nvSpPr>
          <p:spPr bwMode="auto">
            <a:xfrm>
              <a:off x="6711607" y="812309"/>
              <a:ext cx="90089" cy="123812"/>
            </a:xfrm>
            <a:custGeom>
              <a:avLst/>
              <a:gdLst>
                <a:gd name="T0" fmla="*/ 145 w 173"/>
                <a:gd name="T1" fmla="*/ 216 h 239"/>
                <a:gd name="T2" fmla="*/ 70 w 173"/>
                <a:gd name="T3" fmla="*/ 216 h 239"/>
                <a:gd name="T4" fmla="*/ 70 w 173"/>
                <a:gd name="T5" fmla="*/ 117 h 239"/>
                <a:gd name="T6" fmla="*/ 112 w 173"/>
                <a:gd name="T7" fmla="*/ 117 h 239"/>
                <a:gd name="T8" fmla="*/ 121 w 173"/>
                <a:gd name="T9" fmla="*/ 150 h 239"/>
                <a:gd name="T10" fmla="*/ 136 w 173"/>
                <a:gd name="T11" fmla="*/ 150 h 239"/>
                <a:gd name="T12" fmla="*/ 131 w 173"/>
                <a:gd name="T13" fmla="*/ 108 h 239"/>
                <a:gd name="T14" fmla="*/ 136 w 173"/>
                <a:gd name="T15" fmla="*/ 71 h 239"/>
                <a:gd name="T16" fmla="*/ 121 w 173"/>
                <a:gd name="T17" fmla="*/ 71 h 239"/>
                <a:gd name="T18" fmla="*/ 112 w 173"/>
                <a:gd name="T19" fmla="*/ 103 h 239"/>
                <a:gd name="T20" fmla="*/ 70 w 173"/>
                <a:gd name="T21" fmla="*/ 103 h 239"/>
                <a:gd name="T22" fmla="*/ 70 w 173"/>
                <a:gd name="T23" fmla="*/ 24 h 239"/>
                <a:gd name="T24" fmla="*/ 140 w 173"/>
                <a:gd name="T25" fmla="*/ 24 h 239"/>
                <a:gd name="T26" fmla="*/ 150 w 173"/>
                <a:gd name="T27" fmla="*/ 61 h 239"/>
                <a:gd name="T28" fmla="*/ 164 w 173"/>
                <a:gd name="T29" fmla="*/ 61 h 239"/>
                <a:gd name="T30" fmla="*/ 159 w 173"/>
                <a:gd name="T31" fmla="*/ 0 h 239"/>
                <a:gd name="T32" fmla="*/ 145 w 173"/>
                <a:gd name="T33" fmla="*/ 0 h 239"/>
                <a:gd name="T34" fmla="*/ 0 w 173"/>
                <a:gd name="T35" fmla="*/ 0 h 239"/>
                <a:gd name="T36" fmla="*/ 0 w 173"/>
                <a:gd name="T37" fmla="*/ 10 h 239"/>
                <a:gd name="T38" fmla="*/ 23 w 173"/>
                <a:gd name="T39" fmla="*/ 19 h 239"/>
                <a:gd name="T40" fmla="*/ 23 w 173"/>
                <a:gd name="T41" fmla="*/ 216 h 239"/>
                <a:gd name="T42" fmla="*/ 0 w 173"/>
                <a:gd name="T43" fmla="*/ 225 h 239"/>
                <a:gd name="T44" fmla="*/ 0 w 173"/>
                <a:gd name="T45" fmla="*/ 239 h 239"/>
                <a:gd name="T46" fmla="*/ 164 w 173"/>
                <a:gd name="T47" fmla="*/ 239 h 239"/>
                <a:gd name="T48" fmla="*/ 173 w 173"/>
                <a:gd name="T49" fmla="*/ 169 h 239"/>
                <a:gd name="T50" fmla="*/ 159 w 173"/>
                <a:gd name="T51" fmla="*/ 169 h 239"/>
                <a:gd name="T52" fmla="*/ 145 w 173"/>
                <a:gd name="T53" fmla="*/ 216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73" h="239">
                  <a:moveTo>
                    <a:pt x="145" y="216"/>
                  </a:moveTo>
                  <a:lnTo>
                    <a:pt x="70" y="216"/>
                  </a:lnTo>
                  <a:lnTo>
                    <a:pt x="70" y="117"/>
                  </a:lnTo>
                  <a:lnTo>
                    <a:pt x="112" y="117"/>
                  </a:lnTo>
                  <a:lnTo>
                    <a:pt x="121" y="150"/>
                  </a:lnTo>
                  <a:lnTo>
                    <a:pt x="136" y="150"/>
                  </a:lnTo>
                  <a:lnTo>
                    <a:pt x="131" y="108"/>
                  </a:lnTo>
                  <a:lnTo>
                    <a:pt x="136" y="71"/>
                  </a:lnTo>
                  <a:lnTo>
                    <a:pt x="121" y="71"/>
                  </a:lnTo>
                  <a:lnTo>
                    <a:pt x="112" y="103"/>
                  </a:lnTo>
                  <a:lnTo>
                    <a:pt x="70" y="103"/>
                  </a:lnTo>
                  <a:lnTo>
                    <a:pt x="70" y="24"/>
                  </a:lnTo>
                  <a:lnTo>
                    <a:pt x="140" y="24"/>
                  </a:lnTo>
                  <a:lnTo>
                    <a:pt x="150" y="61"/>
                  </a:lnTo>
                  <a:lnTo>
                    <a:pt x="164" y="61"/>
                  </a:lnTo>
                  <a:lnTo>
                    <a:pt x="159" y="0"/>
                  </a:lnTo>
                  <a:lnTo>
                    <a:pt x="145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3" y="19"/>
                  </a:lnTo>
                  <a:lnTo>
                    <a:pt x="2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64" y="239"/>
                  </a:lnTo>
                  <a:lnTo>
                    <a:pt x="173" y="169"/>
                  </a:lnTo>
                  <a:lnTo>
                    <a:pt x="159" y="169"/>
                  </a:lnTo>
                  <a:lnTo>
                    <a:pt x="145" y="2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6" name="Freeform 64"/>
            <p:cNvSpPr>
              <a:spLocks/>
            </p:cNvSpPr>
            <p:nvPr/>
          </p:nvSpPr>
          <p:spPr bwMode="auto">
            <a:xfrm>
              <a:off x="6828722" y="812309"/>
              <a:ext cx="186933" cy="157579"/>
            </a:xfrm>
            <a:custGeom>
              <a:avLst/>
              <a:gdLst>
                <a:gd name="T0" fmla="*/ 328 w 365"/>
                <a:gd name="T1" fmla="*/ 19 h 305"/>
                <a:gd name="T2" fmla="*/ 361 w 365"/>
                <a:gd name="T3" fmla="*/ 10 h 305"/>
                <a:gd name="T4" fmla="*/ 361 w 365"/>
                <a:gd name="T5" fmla="*/ 0 h 305"/>
                <a:gd name="T6" fmla="*/ 248 w 365"/>
                <a:gd name="T7" fmla="*/ 0 h 305"/>
                <a:gd name="T8" fmla="*/ 248 w 365"/>
                <a:gd name="T9" fmla="*/ 10 h 305"/>
                <a:gd name="T10" fmla="*/ 276 w 365"/>
                <a:gd name="T11" fmla="*/ 19 h 305"/>
                <a:gd name="T12" fmla="*/ 276 w 365"/>
                <a:gd name="T13" fmla="*/ 216 h 305"/>
                <a:gd name="T14" fmla="*/ 201 w 365"/>
                <a:gd name="T15" fmla="*/ 216 h 305"/>
                <a:gd name="T16" fmla="*/ 201 w 365"/>
                <a:gd name="T17" fmla="*/ 19 h 305"/>
                <a:gd name="T18" fmla="*/ 234 w 365"/>
                <a:gd name="T19" fmla="*/ 10 h 305"/>
                <a:gd name="T20" fmla="*/ 234 w 365"/>
                <a:gd name="T21" fmla="*/ 0 h 305"/>
                <a:gd name="T22" fmla="*/ 121 w 365"/>
                <a:gd name="T23" fmla="*/ 0 h 305"/>
                <a:gd name="T24" fmla="*/ 121 w 365"/>
                <a:gd name="T25" fmla="*/ 10 h 305"/>
                <a:gd name="T26" fmla="*/ 154 w 365"/>
                <a:gd name="T27" fmla="*/ 19 h 305"/>
                <a:gd name="T28" fmla="*/ 154 w 365"/>
                <a:gd name="T29" fmla="*/ 216 h 305"/>
                <a:gd name="T30" fmla="*/ 75 w 365"/>
                <a:gd name="T31" fmla="*/ 216 h 305"/>
                <a:gd name="T32" fmla="*/ 75 w 365"/>
                <a:gd name="T33" fmla="*/ 19 h 305"/>
                <a:gd name="T34" fmla="*/ 107 w 365"/>
                <a:gd name="T35" fmla="*/ 10 h 305"/>
                <a:gd name="T36" fmla="*/ 107 w 365"/>
                <a:gd name="T37" fmla="*/ 0 h 305"/>
                <a:gd name="T38" fmla="*/ 0 w 365"/>
                <a:gd name="T39" fmla="*/ 0 h 305"/>
                <a:gd name="T40" fmla="*/ 0 w 365"/>
                <a:gd name="T41" fmla="*/ 10 h 305"/>
                <a:gd name="T42" fmla="*/ 28 w 365"/>
                <a:gd name="T43" fmla="*/ 19 h 305"/>
                <a:gd name="T44" fmla="*/ 28 w 365"/>
                <a:gd name="T45" fmla="*/ 216 h 305"/>
                <a:gd name="T46" fmla="*/ 0 w 365"/>
                <a:gd name="T47" fmla="*/ 221 h 305"/>
                <a:gd name="T48" fmla="*/ 0 w 365"/>
                <a:gd name="T49" fmla="*/ 235 h 305"/>
                <a:gd name="T50" fmla="*/ 337 w 365"/>
                <a:gd name="T51" fmla="*/ 235 h 305"/>
                <a:gd name="T52" fmla="*/ 337 w 365"/>
                <a:gd name="T53" fmla="*/ 305 h 305"/>
                <a:gd name="T54" fmla="*/ 347 w 365"/>
                <a:gd name="T55" fmla="*/ 305 h 305"/>
                <a:gd name="T56" fmla="*/ 365 w 365"/>
                <a:gd name="T57" fmla="*/ 216 h 305"/>
                <a:gd name="T58" fmla="*/ 328 w 365"/>
                <a:gd name="T59" fmla="*/ 216 h 305"/>
                <a:gd name="T60" fmla="*/ 328 w 365"/>
                <a:gd name="T61" fmla="*/ 19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65" h="305">
                  <a:moveTo>
                    <a:pt x="328" y="19"/>
                  </a:moveTo>
                  <a:lnTo>
                    <a:pt x="361" y="10"/>
                  </a:lnTo>
                  <a:lnTo>
                    <a:pt x="361" y="0"/>
                  </a:lnTo>
                  <a:lnTo>
                    <a:pt x="248" y="0"/>
                  </a:lnTo>
                  <a:lnTo>
                    <a:pt x="248" y="10"/>
                  </a:lnTo>
                  <a:lnTo>
                    <a:pt x="276" y="19"/>
                  </a:lnTo>
                  <a:lnTo>
                    <a:pt x="276" y="216"/>
                  </a:lnTo>
                  <a:lnTo>
                    <a:pt x="201" y="216"/>
                  </a:lnTo>
                  <a:lnTo>
                    <a:pt x="201" y="19"/>
                  </a:lnTo>
                  <a:lnTo>
                    <a:pt x="234" y="10"/>
                  </a:lnTo>
                  <a:lnTo>
                    <a:pt x="234" y="0"/>
                  </a:lnTo>
                  <a:lnTo>
                    <a:pt x="121" y="0"/>
                  </a:lnTo>
                  <a:lnTo>
                    <a:pt x="121" y="10"/>
                  </a:lnTo>
                  <a:lnTo>
                    <a:pt x="154" y="19"/>
                  </a:lnTo>
                  <a:lnTo>
                    <a:pt x="154" y="216"/>
                  </a:lnTo>
                  <a:lnTo>
                    <a:pt x="75" y="216"/>
                  </a:lnTo>
                  <a:lnTo>
                    <a:pt x="75" y="19"/>
                  </a:lnTo>
                  <a:lnTo>
                    <a:pt x="107" y="10"/>
                  </a:lnTo>
                  <a:lnTo>
                    <a:pt x="107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1"/>
                  </a:lnTo>
                  <a:lnTo>
                    <a:pt x="0" y="235"/>
                  </a:lnTo>
                  <a:lnTo>
                    <a:pt x="337" y="235"/>
                  </a:lnTo>
                  <a:lnTo>
                    <a:pt x="337" y="305"/>
                  </a:lnTo>
                  <a:lnTo>
                    <a:pt x="347" y="305"/>
                  </a:lnTo>
                  <a:lnTo>
                    <a:pt x="365" y="216"/>
                  </a:lnTo>
                  <a:lnTo>
                    <a:pt x="328" y="216"/>
                  </a:lnTo>
                  <a:lnTo>
                    <a:pt x="328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7" name="Freeform 65"/>
            <p:cNvSpPr>
              <a:spLocks/>
            </p:cNvSpPr>
            <p:nvPr/>
          </p:nvSpPr>
          <p:spPr bwMode="auto">
            <a:xfrm>
              <a:off x="7033673" y="812309"/>
              <a:ext cx="90089" cy="123812"/>
            </a:xfrm>
            <a:custGeom>
              <a:avLst/>
              <a:gdLst>
                <a:gd name="T0" fmla="*/ 178 w 178"/>
                <a:gd name="T1" fmla="*/ 169 h 239"/>
                <a:gd name="T2" fmla="*/ 164 w 178"/>
                <a:gd name="T3" fmla="*/ 169 h 239"/>
                <a:gd name="T4" fmla="*/ 145 w 178"/>
                <a:gd name="T5" fmla="*/ 216 h 239"/>
                <a:gd name="T6" fmla="*/ 75 w 178"/>
                <a:gd name="T7" fmla="*/ 216 h 239"/>
                <a:gd name="T8" fmla="*/ 75 w 178"/>
                <a:gd name="T9" fmla="*/ 117 h 239"/>
                <a:gd name="T10" fmla="*/ 117 w 178"/>
                <a:gd name="T11" fmla="*/ 117 h 239"/>
                <a:gd name="T12" fmla="*/ 127 w 178"/>
                <a:gd name="T13" fmla="*/ 150 h 239"/>
                <a:gd name="T14" fmla="*/ 136 w 178"/>
                <a:gd name="T15" fmla="*/ 150 h 239"/>
                <a:gd name="T16" fmla="*/ 136 w 178"/>
                <a:gd name="T17" fmla="*/ 132 h 239"/>
                <a:gd name="T18" fmla="*/ 136 w 178"/>
                <a:gd name="T19" fmla="*/ 108 h 239"/>
                <a:gd name="T20" fmla="*/ 136 w 178"/>
                <a:gd name="T21" fmla="*/ 89 h 239"/>
                <a:gd name="T22" fmla="*/ 136 w 178"/>
                <a:gd name="T23" fmla="*/ 71 h 239"/>
                <a:gd name="T24" fmla="*/ 127 w 178"/>
                <a:gd name="T25" fmla="*/ 71 h 239"/>
                <a:gd name="T26" fmla="*/ 117 w 178"/>
                <a:gd name="T27" fmla="*/ 103 h 239"/>
                <a:gd name="T28" fmla="*/ 75 w 178"/>
                <a:gd name="T29" fmla="*/ 103 h 239"/>
                <a:gd name="T30" fmla="*/ 75 w 178"/>
                <a:gd name="T31" fmla="*/ 24 h 239"/>
                <a:gd name="T32" fmla="*/ 145 w 178"/>
                <a:gd name="T33" fmla="*/ 24 h 239"/>
                <a:gd name="T34" fmla="*/ 155 w 178"/>
                <a:gd name="T35" fmla="*/ 61 h 239"/>
                <a:gd name="T36" fmla="*/ 164 w 178"/>
                <a:gd name="T37" fmla="*/ 61 h 239"/>
                <a:gd name="T38" fmla="*/ 164 w 178"/>
                <a:gd name="T39" fmla="*/ 0 h 239"/>
                <a:gd name="T40" fmla="*/ 0 w 178"/>
                <a:gd name="T41" fmla="*/ 0 h 239"/>
                <a:gd name="T42" fmla="*/ 0 w 178"/>
                <a:gd name="T43" fmla="*/ 10 h 239"/>
                <a:gd name="T44" fmla="*/ 28 w 178"/>
                <a:gd name="T45" fmla="*/ 19 h 239"/>
                <a:gd name="T46" fmla="*/ 28 w 178"/>
                <a:gd name="T47" fmla="*/ 216 h 239"/>
                <a:gd name="T48" fmla="*/ 0 w 178"/>
                <a:gd name="T49" fmla="*/ 225 h 239"/>
                <a:gd name="T50" fmla="*/ 0 w 178"/>
                <a:gd name="T51" fmla="*/ 239 h 239"/>
                <a:gd name="T52" fmla="*/ 169 w 178"/>
                <a:gd name="T53" fmla="*/ 239 h 239"/>
                <a:gd name="T54" fmla="*/ 178 w 178"/>
                <a:gd name="T55" fmla="*/ 16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78" h="239">
                  <a:moveTo>
                    <a:pt x="178" y="169"/>
                  </a:moveTo>
                  <a:lnTo>
                    <a:pt x="164" y="169"/>
                  </a:lnTo>
                  <a:lnTo>
                    <a:pt x="145" y="216"/>
                  </a:lnTo>
                  <a:lnTo>
                    <a:pt x="75" y="216"/>
                  </a:lnTo>
                  <a:lnTo>
                    <a:pt x="75" y="117"/>
                  </a:lnTo>
                  <a:lnTo>
                    <a:pt x="117" y="117"/>
                  </a:lnTo>
                  <a:lnTo>
                    <a:pt x="127" y="150"/>
                  </a:lnTo>
                  <a:lnTo>
                    <a:pt x="136" y="150"/>
                  </a:lnTo>
                  <a:lnTo>
                    <a:pt x="136" y="132"/>
                  </a:lnTo>
                  <a:lnTo>
                    <a:pt x="136" y="108"/>
                  </a:lnTo>
                  <a:lnTo>
                    <a:pt x="136" y="89"/>
                  </a:lnTo>
                  <a:lnTo>
                    <a:pt x="136" y="71"/>
                  </a:lnTo>
                  <a:lnTo>
                    <a:pt x="127" y="71"/>
                  </a:lnTo>
                  <a:lnTo>
                    <a:pt x="117" y="103"/>
                  </a:lnTo>
                  <a:lnTo>
                    <a:pt x="75" y="103"/>
                  </a:lnTo>
                  <a:lnTo>
                    <a:pt x="75" y="24"/>
                  </a:lnTo>
                  <a:lnTo>
                    <a:pt x="145" y="24"/>
                  </a:lnTo>
                  <a:lnTo>
                    <a:pt x="155" y="61"/>
                  </a:lnTo>
                  <a:lnTo>
                    <a:pt x="164" y="61"/>
                  </a:lnTo>
                  <a:lnTo>
                    <a:pt x="16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69" y="239"/>
                  </a:lnTo>
                  <a:lnTo>
                    <a:pt x="178" y="1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8" name="Freeform 66"/>
            <p:cNvSpPr>
              <a:spLocks/>
            </p:cNvSpPr>
            <p:nvPr/>
          </p:nvSpPr>
          <p:spPr bwMode="auto">
            <a:xfrm>
              <a:off x="7148536" y="812309"/>
              <a:ext cx="130630" cy="123812"/>
            </a:xfrm>
            <a:custGeom>
              <a:avLst/>
              <a:gdLst>
                <a:gd name="T0" fmla="*/ 141 w 253"/>
                <a:gd name="T1" fmla="*/ 10 h 239"/>
                <a:gd name="T2" fmla="*/ 174 w 253"/>
                <a:gd name="T3" fmla="*/ 19 h 239"/>
                <a:gd name="T4" fmla="*/ 174 w 253"/>
                <a:gd name="T5" fmla="*/ 103 h 239"/>
                <a:gd name="T6" fmla="*/ 75 w 253"/>
                <a:gd name="T7" fmla="*/ 103 h 239"/>
                <a:gd name="T8" fmla="*/ 75 w 253"/>
                <a:gd name="T9" fmla="*/ 19 h 239"/>
                <a:gd name="T10" fmla="*/ 113 w 253"/>
                <a:gd name="T11" fmla="*/ 10 h 239"/>
                <a:gd name="T12" fmla="*/ 113 w 253"/>
                <a:gd name="T13" fmla="*/ 0 h 239"/>
                <a:gd name="T14" fmla="*/ 0 w 253"/>
                <a:gd name="T15" fmla="*/ 0 h 239"/>
                <a:gd name="T16" fmla="*/ 0 w 253"/>
                <a:gd name="T17" fmla="*/ 10 h 239"/>
                <a:gd name="T18" fmla="*/ 28 w 253"/>
                <a:gd name="T19" fmla="*/ 19 h 239"/>
                <a:gd name="T20" fmla="*/ 28 w 253"/>
                <a:gd name="T21" fmla="*/ 216 h 239"/>
                <a:gd name="T22" fmla="*/ 0 w 253"/>
                <a:gd name="T23" fmla="*/ 225 h 239"/>
                <a:gd name="T24" fmla="*/ 0 w 253"/>
                <a:gd name="T25" fmla="*/ 239 h 239"/>
                <a:gd name="T26" fmla="*/ 113 w 253"/>
                <a:gd name="T27" fmla="*/ 239 h 239"/>
                <a:gd name="T28" fmla="*/ 113 w 253"/>
                <a:gd name="T29" fmla="*/ 225 h 239"/>
                <a:gd name="T30" fmla="*/ 75 w 253"/>
                <a:gd name="T31" fmla="*/ 216 h 239"/>
                <a:gd name="T32" fmla="*/ 75 w 253"/>
                <a:gd name="T33" fmla="*/ 122 h 239"/>
                <a:gd name="T34" fmla="*/ 174 w 253"/>
                <a:gd name="T35" fmla="*/ 122 h 239"/>
                <a:gd name="T36" fmla="*/ 174 w 253"/>
                <a:gd name="T37" fmla="*/ 216 h 239"/>
                <a:gd name="T38" fmla="*/ 141 w 253"/>
                <a:gd name="T39" fmla="*/ 225 h 239"/>
                <a:gd name="T40" fmla="*/ 141 w 253"/>
                <a:gd name="T41" fmla="*/ 239 h 239"/>
                <a:gd name="T42" fmla="*/ 253 w 253"/>
                <a:gd name="T43" fmla="*/ 239 h 239"/>
                <a:gd name="T44" fmla="*/ 253 w 253"/>
                <a:gd name="T45" fmla="*/ 225 h 239"/>
                <a:gd name="T46" fmla="*/ 221 w 253"/>
                <a:gd name="T47" fmla="*/ 216 h 239"/>
                <a:gd name="T48" fmla="*/ 221 w 253"/>
                <a:gd name="T49" fmla="*/ 19 h 239"/>
                <a:gd name="T50" fmla="*/ 253 w 253"/>
                <a:gd name="T51" fmla="*/ 10 h 239"/>
                <a:gd name="T52" fmla="*/ 253 w 253"/>
                <a:gd name="T53" fmla="*/ 0 h 239"/>
                <a:gd name="T54" fmla="*/ 141 w 253"/>
                <a:gd name="T55" fmla="*/ 0 h 239"/>
                <a:gd name="T56" fmla="*/ 141 w 253"/>
                <a:gd name="T57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3" h="239">
                  <a:moveTo>
                    <a:pt x="141" y="10"/>
                  </a:moveTo>
                  <a:lnTo>
                    <a:pt x="174" y="19"/>
                  </a:lnTo>
                  <a:lnTo>
                    <a:pt x="174" y="103"/>
                  </a:lnTo>
                  <a:lnTo>
                    <a:pt x="75" y="103"/>
                  </a:lnTo>
                  <a:lnTo>
                    <a:pt x="75" y="19"/>
                  </a:lnTo>
                  <a:lnTo>
                    <a:pt x="113" y="10"/>
                  </a:lnTo>
                  <a:lnTo>
                    <a:pt x="113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3" y="239"/>
                  </a:lnTo>
                  <a:lnTo>
                    <a:pt x="113" y="225"/>
                  </a:lnTo>
                  <a:lnTo>
                    <a:pt x="75" y="216"/>
                  </a:lnTo>
                  <a:lnTo>
                    <a:pt x="75" y="122"/>
                  </a:lnTo>
                  <a:lnTo>
                    <a:pt x="174" y="122"/>
                  </a:lnTo>
                  <a:lnTo>
                    <a:pt x="174" y="216"/>
                  </a:lnTo>
                  <a:lnTo>
                    <a:pt x="141" y="225"/>
                  </a:lnTo>
                  <a:lnTo>
                    <a:pt x="141" y="239"/>
                  </a:lnTo>
                  <a:lnTo>
                    <a:pt x="253" y="239"/>
                  </a:lnTo>
                  <a:lnTo>
                    <a:pt x="253" y="225"/>
                  </a:lnTo>
                  <a:lnTo>
                    <a:pt x="221" y="216"/>
                  </a:lnTo>
                  <a:lnTo>
                    <a:pt x="221" y="19"/>
                  </a:lnTo>
                  <a:lnTo>
                    <a:pt x="253" y="10"/>
                  </a:lnTo>
                  <a:lnTo>
                    <a:pt x="253" y="0"/>
                  </a:lnTo>
                  <a:lnTo>
                    <a:pt x="141" y="0"/>
                  </a:lnTo>
                  <a:lnTo>
                    <a:pt x="141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9" name="Freeform 67"/>
            <p:cNvSpPr>
              <a:spLocks/>
            </p:cNvSpPr>
            <p:nvPr/>
          </p:nvSpPr>
          <p:spPr bwMode="auto">
            <a:xfrm>
              <a:off x="7301687" y="812309"/>
              <a:ext cx="130630" cy="123812"/>
            </a:xfrm>
            <a:custGeom>
              <a:avLst/>
              <a:gdLst>
                <a:gd name="T0" fmla="*/ 140 w 253"/>
                <a:gd name="T1" fmla="*/ 10 h 239"/>
                <a:gd name="T2" fmla="*/ 173 w 253"/>
                <a:gd name="T3" fmla="*/ 19 h 239"/>
                <a:gd name="T4" fmla="*/ 173 w 253"/>
                <a:gd name="T5" fmla="*/ 24 h 239"/>
                <a:gd name="T6" fmla="*/ 75 w 253"/>
                <a:gd name="T7" fmla="*/ 183 h 239"/>
                <a:gd name="T8" fmla="*/ 75 w 253"/>
                <a:gd name="T9" fmla="*/ 19 h 239"/>
                <a:gd name="T10" fmla="*/ 112 w 253"/>
                <a:gd name="T11" fmla="*/ 10 h 239"/>
                <a:gd name="T12" fmla="*/ 112 w 253"/>
                <a:gd name="T13" fmla="*/ 0 h 239"/>
                <a:gd name="T14" fmla="*/ 0 w 253"/>
                <a:gd name="T15" fmla="*/ 0 h 239"/>
                <a:gd name="T16" fmla="*/ 0 w 253"/>
                <a:gd name="T17" fmla="*/ 10 h 239"/>
                <a:gd name="T18" fmla="*/ 28 w 253"/>
                <a:gd name="T19" fmla="*/ 19 h 239"/>
                <a:gd name="T20" fmla="*/ 28 w 253"/>
                <a:gd name="T21" fmla="*/ 216 h 239"/>
                <a:gd name="T22" fmla="*/ 0 w 253"/>
                <a:gd name="T23" fmla="*/ 225 h 239"/>
                <a:gd name="T24" fmla="*/ 0 w 253"/>
                <a:gd name="T25" fmla="*/ 239 h 239"/>
                <a:gd name="T26" fmla="*/ 112 w 253"/>
                <a:gd name="T27" fmla="*/ 239 h 239"/>
                <a:gd name="T28" fmla="*/ 112 w 253"/>
                <a:gd name="T29" fmla="*/ 225 h 239"/>
                <a:gd name="T30" fmla="*/ 75 w 253"/>
                <a:gd name="T31" fmla="*/ 216 h 239"/>
                <a:gd name="T32" fmla="*/ 75 w 253"/>
                <a:gd name="T33" fmla="*/ 216 h 239"/>
                <a:gd name="T34" fmla="*/ 173 w 253"/>
                <a:gd name="T35" fmla="*/ 52 h 239"/>
                <a:gd name="T36" fmla="*/ 173 w 253"/>
                <a:gd name="T37" fmla="*/ 216 h 239"/>
                <a:gd name="T38" fmla="*/ 140 w 253"/>
                <a:gd name="T39" fmla="*/ 225 h 239"/>
                <a:gd name="T40" fmla="*/ 140 w 253"/>
                <a:gd name="T41" fmla="*/ 239 h 239"/>
                <a:gd name="T42" fmla="*/ 253 w 253"/>
                <a:gd name="T43" fmla="*/ 239 h 239"/>
                <a:gd name="T44" fmla="*/ 253 w 253"/>
                <a:gd name="T45" fmla="*/ 225 h 239"/>
                <a:gd name="T46" fmla="*/ 220 w 253"/>
                <a:gd name="T47" fmla="*/ 216 h 239"/>
                <a:gd name="T48" fmla="*/ 220 w 253"/>
                <a:gd name="T49" fmla="*/ 19 h 239"/>
                <a:gd name="T50" fmla="*/ 253 w 253"/>
                <a:gd name="T51" fmla="*/ 10 h 239"/>
                <a:gd name="T52" fmla="*/ 253 w 253"/>
                <a:gd name="T53" fmla="*/ 0 h 239"/>
                <a:gd name="T54" fmla="*/ 140 w 253"/>
                <a:gd name="T55" fmla="*/ 0 h 239"/>
                <a:gd name="T56" fmla="*/ 140 w 253"/>
                <a:gd name="T57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3" h="239">
                  <a:moveTo>
                    <a:pt x="140" y="10"/>
                  </a:moveTo>
                  <a:lnTo>
                    <a:pt x="173" y="19"/>
                  </a:lnTo>
                  <a:lnTo>
                    <a:pt x="173" y="24"/>
                  </a:lnTo>
                  <a:lnTo>
                    <a:pt x="75" y="183"/>
                  </a:lnTo>
                  <a:lnTo>
                    <a:pt x="75" y="19"/>
                  </a:lnTo>
                  <a:lnTo>
                    <a:pt x="112" y="10"/>
                  </a:lnTo>
                  <a:lnTo>
                    <a:pt x="112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75" y="216"/>
                  </a:lnTo>
                  <a:lnTo>
                    <a:pt x="75" y="216"/>
                  </a:lnTo>
                  <a:lnTo>
                    <a:pt x="173" y="52"/>
                  </a:lnTo>
                  <a:lnTo>
                    <a:pt x="173" y="216"/>
                  </a:lnTo>
                  <a:lnTo>
                    <a:pt x="140" y="225"/>
                  </a:lnTo>
                  <a:lnTo>
                    <a:pt x="140" y="239"/>
                  </a:lnTo>
                  <a:lnTo>
                    <a:pt x="253" y="239"/>
                  </a:lnTo>
                  <a:lnTo>
                    <a:pt x="253" y="225"/>
                  </a:lnTo>
                  <a:lnTo>
                    <a:pt x="220" y="216"/>
                  </a:lnTo>
                  <a:lnTo>
                    <a:pt x="220" y="19"/>
                  </a:lnTo>
                  <a:lnTo>
                    <a:pt x="253" y="10"/>
                  </a:lnTo>
                  <a:lnTo>
                    <a:pt x="253" y="0"/>
                  </a:lnTo>
                  <a:lnTo>
                    <a:pt x="140" y="0"/>
                  </a:lnTo>
                  <a:lnTo>
                    <a:pt x="140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90" name="Freeform 68"/>
            <p:cNvSpPr>
              <a:spLocks/>
            </p:cNvSpPr>
            <p:nvPr/>
          </p:nvSpPr>
          <p:spPr bwMode="auto">
            <a:xfrm>
              <a:off x="7450333" y="812309"/>
              <a:ext cx="94593" cy="123812"/>
            </a:xfrm>
            <a:custGeom>
              <a:avLst/>
              <a:gdLst>
                <a:gd name="T0" fmla="*/ 169 w 183"/>
                <a:gd name="T1" fmla="*/ 169 h 239"/>
                <a:gd name="T2" fmla="*/ 150 w 183"/>
                <a:gd name="T3" fmla="*/ 216 h 239"/>
                <a:gd name="T4" fmla="*/ 80 w 183"/>
                <a:gd name="T5" fmla="*/ 216 h 239"/>
                <a:gd name="T6" fmla="*/ 80 w 183"/>
                <a:gd name="T7" fmla="*/ 117 h 239"/>
                <a:gd name="T8" fmla="*/ 122 w 183"/>
                <a:gd name="T9" fmla="*/ 117 h 239"/>
                <a:gd name="T10" fmla="*/ 132 w 183"/>
                <a:gd name="T11" fmla="*/ 150 h 239"/>
                <a:gd name="T12" fmla="*/ 141 w 183"/>
                <a:gd name="T13" fmla="*/ 150 h 239"/>
                <a:gd name="T14" fmla="*/ 141 w 183"/>
                <a:gd name="T15" fmla="*/ 108 h 239"/>
                <a:gd name="T16" fmla="*/ 141 w 183"/>
                <a:gd name="T17" fmla="*/ 71 h 239"/>
                <a:gd name="T18" fmla="*/ 132 w 183"/>
                <a:gd name="T19" fmla="*/ 71 h 239"/>
                <a:gd name="T20" fmla="*/ 122 w 183"/>
                <a:gd name="T21" fmla="*/ 103 h 239"/>
                <a:gd name="T22" fmla="*/ 80 w 183"/>
                <a:gd name="T23" fmla="*/ 103 h 239"/>
                <a:gd name="T24" fmla="*/ 80 w 183"/>
                <a:gd name="T25" fmla="*/ 24 h 239"/>
                <a:gd name="T26" fmla="*/ 146 w 183"/>
                <a:gd name="T27" fmla="*/ 24 h 239"/>
                <a:gd name="T28" fmla="*/ 160 w 183"/>
                <a:gd name="T29" fmla="*/ 61 h 239"/>
                <a:gd name="T30" fmla="*/ 169 w 183"/>
                <a:gd name="T31" fmla="*/ 61 h 239"/>
                <a:gd name="T32" fmla="*/ 169 w 183"/>
                <a:gd name="T33" fmla="*/ 0 h 239"/>
                <a:gd name="T34" fmla="*/ 0 w 183"/>
                <a:gd name="T35" fmla="*/ 0 h 239"/>
                <a:gd name="T36" fmla="*/ 0 w 183"/>
                <a:gd name="T37" fmla="*/ 10 h 239"/>
                <a:gd name="T38" fmla="*/ 33 w 183"/>
                <a:gd name="T39" fmla="*/ 19 h 239"/>
                <a:gd name="T40" fmla="*/ 33 w 183"/>
                <a:gd name="T41" fmla="*/ 216 h 239"/>
                <a:gd name="T42" fmla="*/ 0 w 183"/>
                <a:gd name="T43" fmla="*/ 225 h 239"/>
                <a:gd name="T44" fmla="*/ 0 w 183"/>
                <a:gd name="T45" fmla="*/ 239 h 239"/>
                <a:gd name="T46" fmla="*/ 174 w 183"/>
                <a:gd name="T47" fmla="*/ 239 h 239"/>
                <a:gd name="T48" fmla="*/ 183 w 183"/>
                <a:gd name="T49" fmla="*/ 169 h 239"/>
                <a:gd name="T50" fmla="*/ 169 w 183"/>
                <a:gd name="T51" fmla="*/ 16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83" h="239">
                  <a:moveTo>
                    <a:pt x="169" y="169"/>
                  </a:moveTo>
                  <a:lnTo>
                    <a:pt x="150" y="216"/>
                  </a:lnTo>
                  <a:lnTo>
                    <a:pt x="80" y="216"/>
                  </a:lnTo>
                  <a:lnTo>
                    <a:pt x="80" y="117"/>
                  </a:lnTo>
                  <a:lnTo>
                    <a:pt x="122" y="117"/>
                  </a:lnTo>
                  <a:lnTo>
                    <a:pt x="132" y="150"/>
                  </a:lnTo>
                  <a:lnTo>
                    <a:pt x="141" y="150"/>
                  </a:lnTo>
                  <a:lnTo>
                    <a:pt x="141" y="108"/>
                  </a:lnTo>
                  <a:lnTo>
                    <a:pt x="141" y="71"/>
                  </a:lnTo>
                  <a:lnTo>
                    <a:pt x="132" y="71"/>
                  </a:lnTo>
                  <a:lnTo>
                    <a:pt x="122" y="103"/>
                  </a:lnTo>
                  <a:lnTo>
                    <a:pt x="80" y="103"/>
                  </a:lnTo>
                  <a:lnTo>
                    <a:pt x="80" y="24"/>
                  </a:lnTo>
                  <a:lnTo>
                    <a:pt x="146" y="24"/>
                  </a:lnTo>
                  <a:lnTo>
                    <a:pt x="160" y="61"/>
                  </a:lnTo>
                  <a:lnTo>
                    <a:pt x="169" y="61"/>
                  </a:lnTo>
                  <a:lnTo>
                    <a:pt x="169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33" y="19"/>
                  </a:lnTo>
                  <a:lnTo>
                    <a:pt x="3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74" y="239"/>
                  </a:lnTo>
                  <a:lnTo>
                    <a:pt x="183" y="169"/>
                  </a:lnTo>
                  <a:lnTo>
                    <a:pt x="169" y="1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91" name="Freeform 69"/>
            <p:cNvSpPr>
              <a:spLocks noEditPoints="1"/>
            </p:cNvSpPr>
            <p:nvPr/>
          </p:nvSpPr>
          <p:spPr bwMode="auto">
            <a:xfrm>
              <a:off x="6671066" y="443121"/>
              <a:ext cx="238735" cy="308406"/>
            </a:xfrm>
            <a:custGeom>
              <a:avLst/>
              <a:gdLst>
                <a:gd name="T0" fmla="*/ 230 w 464"/>
                <a:gd name="T1" fmla="*/ 595 h 595"/>
                <a:gd name="T2" fmla="*/ 431 w 464"/>
                <a:gd name="T3" fmla="*/ 511 h 595"/>
                <a:gd name="T4" fmla="*/ 464 w 464"/>
                <a:gd name="T5" fmla="*/ 65 h 595"/>
                <a:gd name="T6" fmla="*/ 230 w 464"/>
                <a:gd name="T7" fmla="*/ 0 h 595"/>
                <a:gd name="T8" fmla="*/ 117 w 464"/>
                <a:gd name="T9" fmla="*/ 32 h 595"/>
                <a:gd name="T10" fmla="*/ 0 w 464"/>
                <a:gd name="T11" fmla="*/ 65 h 595"/>
                <a:gd name="T12" fmla="*/ 28 w 464"/>
                <a:gd name="T13" fmla="*/ 511 h 595"/>
                <a:gd name="T14" fmla="*/ 117 w 464"/>
                <a:gd name="T15" fmla="*/ 548 h 595"/>
                <a:gd name="T16" fmla="*/ 230 w 464"/>
                <a:gd name="T17" fmla="*/ 595 h 595"/>
                <a:gd name="T18" fmla="*/ 117 w 464"/>
                <a:gd name="T19" fmla="*/ 61 h 595"/>
                <a:gd name="T20" fmla="*/ 117 w 464"/>
                <a:gd name="T21" fmla="*/ 61 h 595"/>
                <a:gd name="T22" fmla="*/ 164 w 464"/>
                <a:gd name="T23" fmla="*/ 46 h 595"/>
                <a:gd name="T24" fmla="*/ 117 w 464"/>
                <a:gd name="T25" fmla="*/ 126 h 595"/>
                <a:gd name="T26" fmla="*/ 75 w 464"/>
                <a:gd name="T27" fmla="*/ 201 h 595"/>
                <a:gd name="T28" fmla="*/ 75 w 464"/>
                <a:gd name="T29" fmla="*/ 145 h 595"/>
                <a:gd name="T30" fmla="*/ 70 w 464"/>
                <a:gd name="T31" fmla="*/ 75 h 595"/>
                <a:gd name="T32" fmla="*/ 117 w 464"/>
                <a:gd name="T33" fmla="*/ 61 h 595"/>
                <a:gd name="T34" fmla="*/ 56 w 464"/>
                <a:gd name="T35" fmla="*/ 492 h 595"/>
                <a:gd name="T36" fmla="*/ 56 w 464"/>
                <a:gd name="T37" fmla="*/ 492 h 595"/>
                <a:gd name="T38" fmla="*/ 37 w 464"/>
                <a:gd name="T39" fmla="*/ 295 h 595"/>
                <a:gd name="T40" fmla="*/ 80 w 464"/>
                <a:gd name="T41" fmla="*/ 300 h 595"/>
                <a:gd name="T42" fmla="*/ 117 w 464"/>
                <a:gd name="T43" fmla="*/ 243 h 595"/>
                <a:gd name="T44" fmla="*/ 164 w 464"/>
                <a:gd name="T45" fmla="*/ 159 h 595"/>
                <a:gd name="T46" fmla="*/ 164 w 464"/>
                <a:gd name="T47" fmla="*/ 211 h 595"/>
                <a:gd name="T48" fmla="*/ 164 w 464"/>
                <a:gd name="T49" fmla="*/ 304 h 595"/>
                <a:gd name="T50" fmla="*/ 230 w 464"/>
                <a:gd name="T51" fmla="*/ 309 h 595"/>
                <a:gd name="T52" fmla="*/ 230 w 464"/>
                <a:gd name="T53" fmla="*/ 28 h 595"/>
                <a:gd name="T54" fmla="*/ 436 w 464"/>
                <a:gd name="T55" fmla="*/ 84 h 595"/>
                <a:gd name="T56" fmla="*/ 422 w 464"/>
                <a:gd name="T57" fmla="*/ 295 h 595"/>
                <a:gd name="T58" fmla="*/ 361 w 464"/>
                <a:gd name="T59" fmla="*/ 300 h 595"/>
                <a:gd name="T60" fmla="*/ 370 w 464"/>
                <a:gd name="T61" fmla="*/ 121 h 595"/>
                <a:gd name="T62" fmla="*/ 300 w 464"/>
                <a:gd name="T63" fmla="*/ 107 h 595"/>
                <a:gd name="T64" fmla="*/ 295 w 464"/>
                <a:gd name="T65" fmla="*/ 304 h 595"/>
                <a:gd name="T66" fmla="*/ 230 w 464"/>
                <a:gd name="T67" fmla="*/ 309 h 595"/>
                <a:gd name="T68" fmla="*/ 230 w 464"/>
                <a:gd name="T69" fmla="*/ 562 h 595"/>
                <a:gd name="T70" fmla="*/ 117 w 464"/>
                <a:gd name="T71" fmla="*/ 520 h 595"/>
                <a:gd name="T72" fmla="*/ 56 w 464"/>
                <a:gd name="T73" fmla="*/ 492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64" h="595">
                  <a:moveTo>
                    <a:pt x="230" y="595"/>
                  </a:moveTo>
                  <a:lnTo>
                    <a:pt x="431" y="511"/>
                  </a:lnTo>
                  <a:lnTo>
                    <a:pt x="464" y="65"/>
                  </a:lnTo>
                  <a:lnTo>
                    <a:pt x="230" y="0"/>
                  </a:lnTo>
                  <a:lnTo>
                    <a:pt x="117" y="32"/>
                  </a:lnTo>
                  <a:lnTo>
                    <a:pt x="0" y="65"/>
                  </a:lnTo>
                  <a:lnTo>
                    <a:pt x="28" y="511"/>
                  </a:lnTo>
                  <a:lnTo>
                    <a:pt x="117" y="548"/>
                  </a:lnTo>
                  <a:lnTo>
                    <a:pt x="230" y="595"/>
                  </a:lnTo>
                  <a:close/>
                  <a:moveTo>
                    <a:pt x="117" y="61"/>
                  </a:moveTo>
                  <a:lnTo>
                    <a:pt x="117" y="61"/>
                  </a:lnTo>
                  <a:lnTo>
                    <a:pt x="164" y="46"/>
                  </a:lnTo>
                  <a:lnTo>
                    <a:pt x="117" y="126"/>
                  </a:lnTo>
                  <a:lnTo>
                    <a:pt x="75" y="201"/>
                  </a:lnTo>
                  <a:lnTo>
                    <a:pt x="75" y="145"/>
                  </a:lnTo>
                  <a:lnTo>
                    <a:pt x="70" y="75"/>
                  </a:lnTo>
                  <a:lnTo>
                    <a:pt x="117" y="61"/>
                  </a:lnTo>
                  <a:close/>
                  <a:moveTo>
                    <a:pt x="56" y="492"/>
                  </a:moveTo>
                  <a:lnTo>
                    <a:pt x="56" y="492"/>
                  </a:lnTo>
                  <a:lnTo>
                    <a:pt x="37" y="295"/>
                  </a:lnTo>
                  <a:lnTo>
                    <a:pt x="80" y="300"/>
                  </a:lnTo>
                  <a:lnTo>
                    <a:pt x="117" y="243"/>
                  </a:lnTo>
                  <a:lnTo>
                    <a:pt x="164" y="159"/>
                  </a:lnTo>
                  <a:lnTo>
                    <a:pt x="164" y="211"/>
                  </a:lnTo>
                  <a:lnTo>
                    <a:pt x="164" y="304"/>
                  </a:lnTo>
                  <a:lnTo>
                    <a:pt x="230" y="309"/>
                  </a:lnTo>
                  <a:lnTo>
                    <a:pt x="230" y="28"/>
                  </a:lnTo>
                  <a:lnTo>
                    <a:pt x="436" y="84"/>
                  </a:lnTo>
                  <a:lnTo>
                    <a:pt x="422" y="295"/>
                  </a:lnTo>
                  <a:lnTo>
                    <a:pt x="361" y="300"/>
                  </a:lnTo>
                  <a:lnTo>
                    <a:pt x="370" y="121"/>
                  </a:lnTo>
                  <a:lnTo>
                    <a:pt x="300" y="107"/>
                  </a:lnTo>
                  <a:lnTo>
                    <a:pt x="295" y="304"/>
                  </a:lnTo>
                  <a:lnTo>
                    <a:pt x="230" y="309"/>
                  </a:lnTo>
                  <a:lnTo>
                    <a:pt x="230" y="562"/>
                  </a:lnTo>
                  <a:lnTo>
                    <a:pt x="117" y="520"/>
                  </a:lnTo>
                  <a:lnTo>
                    <a:pt x="56" y="4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xmlns="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32"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xmlns="" id="{F28B5AF9-254C-449F-805A-200563AB24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xmlns="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67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62172" y="4251621"/>
            <a:ext cx="11467650" cy="609398"/>
          </a:xfrm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ru-RU" sz="4400" b="1" dirty="0">
                <a:solidFill>
                  <a:srgbClr val="00206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бъединённый портфель по географии</a:t>
            </a: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8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86184" y="6405331"/>
            <a:ext cx="11819633" cy="2871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включая размещение в Интернете и в корпоративных сетях, а также запись в память ЭВМ, для частного или публичного использования, без письменного разрешения владельца авторских прав. © АО «Издательство «Просвещение», 20</a:t>
            </a:r>
            <a:r>
              <a:rPr lang="en-US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1</a:t>
            </a:r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г.</a:t>
            </a:r>
          </a:p>
        </p:txBody>
      </p:sp>
      <p:grpSp>
        <p:nvGrpSpPr>
          <p:cNvPr id="17" name="Группа 16"/>
          <p:cNvGrpSpPr/>
          <p:nvPr/>
        </p:nvGrpSpPr>
        <p:grpSpPr>
          <a:xfrm>
            <a:off x="9254339" y="1860330"/>
            <a:ext cx="1023938" cy="336550"/>
            <a:chOff x="8812213" y="4892675"/>
            <a:chExt cx="1023938" cy="336550"/>
          </a:xfrm>
        </p:grpSpPr>
        <p:sp>
          <p:nvSpPr>
            <p:cNvPr id="15" name="Freeform 13"/>
            <p:cNvSpPr>
              <a:spLocks noEditPoints="1"/>
            </p:cNvSpPr>
            <p:nvPr/>
          </p:nvSpPr>
          <p:spPr bwMode="auto">
            <a:xfrm>
              <a:off x="8812213" y="4892675"/>
              <a:ext cx="215900" cy="331788"/>
            </a:xfrm>
            <a:custGeom>
              <a:avLst/>
              <a:gdLst>
                <a:gd name="T0" fmla="*/ 137 w 592"/>
                <a:gd name="T1" fmla="*/ 34 h 904"/>
                <a:gd name="T2" fmla="*/ 126 w 592"/>
                <a:gd name="T3" fmla="*/ 55 h 904"/>
                <a:gd name="T4" fmla="*/ 133 w 592"/>
                <a:gd name="T5" fmla="*/ 81 h 904"/>
                <a:gd name="T6" fmla="*/ 146 w 592"/>
                <a:gd name="T7" fmla="*/ 112 h 904"/>
                <a:gd name="T8" fmla="*/ 138 w 592"/>
                <a:gd name="T9" fmla="*/ 135 h 904"/>
                <a:gd name="T10" fmla="*/ 57 w 592"/>
                <a:gd name="T11" fmla="*/ 176 h 904"/>
                <a:gd name="T12" fmla="*/ 42 w 592"/>
                <a:gd name="T13" fmla="*/ 191 h 904"/>
                <a:gd name="T14" fmla="*/ 23 w 592"/>
                <a:gd name="T15" fmla="*/ 240 h 904"/>
                <a:gd name="T16" fmla="*/ 6 w 592"/>
                <a:gd name="T17" fmla="*/ 292 h 904"/>
                <a:gd name="T18" fmla="*/ 7 w 592"/>
                <a:gd name="T19" fmla="*/ 326 h 904"/>
                <a:gd name="T20" fmla="*/ 21 w 592"/>
                <a:gd name="T21" fmla="*/ 371 h 904"/>
                <a:gd name="T22" fmla="*/ 14 w 592"/>
                <a:gd name="T23" fmla="*/ 421 h 904"/>
                <a:gd name="T24" fmla="*/ 175 w 592"/>
                <a:gd name="T25" fmla="*/ 620 h 904"/>
                <a:gd name="T26" fmla="*/ 208 w 592"/>
                <a:gd name="T27" fmla="*/ 661 h 904"/>
                <a:gd name="T28" fmla="*/ 70 w 592"/>
                <a:gd name="T29" fmla="*/ 666 h 904"/>
                <a:gd name="T30" fmla="*/ 86 w 592"/>
                <a:gd name="T31" fmla="*/ 709 h 904"/>
                <a:gd name="T32" fmla="*/ 14 w 592"/>
                <a:gd name="T33" fmla="*/ 768 h 904"/>
                <a:gd name="T34" fmla="*/ 205 w 592"/>
                <a:gd name="T35" fmla="*/ 745 h 904"/>
                <a:gd name="T36" fmla="*/ 275 w 592"/>
                <a:gd name="T37" fmla="*/ 787 h 904"/>
                <a:gd name="T38" fmla="*/ 275 w 592"/>
                <a:gd name="T39" fmla="*/ 756 h 904"/>
                <a:gd name="T40" fmla="*/ 288 w 592"/>
                <a:gd name="T41" fmla="*/ 764 h 904"/>
                <a:gd name="T42" fmla="*/ 295 w 592"/>
                <a:gd name="T43" fmla="*/ 803 h 904"/>
                <a:gd name="T44" fmla="*/ 287 w 592"/>
                <a:gd name="T45" fmla="*/ 846 h 904"/>
                <a:gd name="T46" fmla="*/ 316 w 592"/>
                <a:gd name="T47" fmla="*/ 867 h 904"/>
                <a:gd name="T48" fmla="*/ 334 w 592"/>
                <a:gd name="T49" fmla="*/ 892 h 904"/>
                <a:gd name="T50" fmla="*/ 389 w 592"/>
                <a:gd name="T51" fmla="*/ 898 h 904"/>
                <a:gd name="T52" fmla="*/ 375 w 592"/>
                <a:gd name="T53" fmla="*/ 852 h 904"/>
                <a:gd name="T54" fmla="*/ 340 w 592"/>
                <a:gd name="T55" fmla="*/ 764 h 904"/>
                <a:gd name="T56" fmla="*/ 352 w 592"/>
                <a:gd name="T57" fmla="*/ 756 h 904"/>
                <a:gd name="T58" fmla="*/ 436 w 592"/>
                <a:gd name="T59" fmla="*/ 745 h 904"/>
                <a:gd name="T60" fmla="*/ 352 w 592"/>
                <a:gd name="T61" fmla="*/ 702 h 904"/>
                <a:gd name="T62" fmla="*/ 400 w 592"/>
                <a:gd name="T63" fmla="*/ 655 h 904"/>
                <a:gd name="T64" fmla="*/ 425 w 592"/>
                <a:gd name="T65" fmla="*/ 657 h 904"/>
                <a:gd name="T66" fmla="*/ 448 w 592"/>
                <a:gd name="T67" fmla="*/ 734 h 904"/>
                <a:gd name="T68" fmla="*/ 459 w 592"/>
                <a:gd name="T69" fmla="*/ 759 h 904"/>
                <a:gd name="T70" fmla="*/ 494 w 592"/>
                <a:gd name="T71" fmla="*/ 759 h 904"/>
                <a:gd name="T72" fmla="*/ 581 w 592"/>
                <a:gd name="T73" fmla="*/ 741 h 904"/>
                <a:gd name="T74" fmla="*/ 591 w 592"/>
                <a:gd name="T75" fmla="*/ 730 h 904"/>
                <a:gd name="T76" fmla="*/ 548 w 592"/>
                <a:gd name="T77" fmla="*/ 707 h 904"/>
                <a:gd name="T78" fmla="*/ 452 w 592"/>
                <a:gd name="T79" fmla="*/ 623 h 904"/>
                <a:gd name="T80" fmla="*/ 466 w 592"/>
                <a:gd name="T81" fmla="*/ 585 h 904"/>
                <a:gd name="T82" fmla="*/ 387 w 592"/>
                <a:gd name="T83" fmla="*/ 415 h 904"/>
                <a:gd name="T84" fmla="*/ 370 w 592"/>
                <a:gd name="T85" fmla="*/ 380 h 904"/>
                <a:gd name="T86" fmla="*/ 377 w 592"/>
                <a:gd name="T87" fmla="*/ 358 h 904"/>
                <a:gd name="T88" fmla="*/ 356 w 592"/>
                <a:gd name="T89" fmla="*/ 310 h 904"/>
                <a:gd name="T90" fmla="*/ 325 w 592"/>
                <a:gd name="T91" fmla="*/ 254 h 904"/>
                <a:gd name="T92" fmla="*/ 291 w 592"/>
                <a:gd name="T93" fmla="*/ 186 h 904"/>
                <a:gd name="T94" fmla="*/ 277 w 592"/>
                <a:gd name="T95" fmla="*/ 176 h 904"/>
                <a:gd name="T96" fmla="*/ 211 w 592"/>
                <a:gd name="T97" fmla="*/ 153 h 904"/>
                <a:gd name="T98" fmla="*/ 218 w 592"/>
                <a:gd name="T99" fmla="*/ 140 h 904"/>
                <a:gd name="T100" fmla="*/ 232 w 592"/>
                <a:gd name="T101" fmla="*/ 109 h 904"/>
                <a:gd name="T102" fmla="*/ 239 w 592"/>
                <a:gd name="T103" fmla="*/ 95 h 904"/>
                <a:gd name="T104" fmla="*/ 235 w 592"/>
                <a:gd name="T105" fmla="*/ 74 h 904"/>
                <a:gd name="T106" fmla="*/ 244 w 592"/>
                <a:gd name="T107" fmla="*/ 46 h 904"/>
                <a:gd name="T108" fmla="*/ 234 w 592"/>
                <a:gd name="T109" fmla="*/ 18 h 904"/>
                <a:gd name="T110" fmla="*/ 218 w 592"/>
                <a:gd name="T111" fmla="*/ 11 h 904"/>
                <a:gd name="T112" fmla="*/ 202 w 592"/>
                <a:gd name="T113" fmla="*/ 0 h 904"/>
                <a:gd name="T114" fmla="*/ 163 w 592"/>
                <a:gd name="T115" fmla="*/ 11 h 904"/>
                <a:gd name="T116" fmla="*/ 258 w 592"/>
                <a:gd name="T117" fmla="*/ 620 h 904"/>
                <a:gd name="T118" fmla="*/ 237 w 592"/>
                <a:gd name="T119" fmla="*/ 678 h 904"/>
                <a:gd name="T120" fmla="*/ 227 w 592"/>
                <a:gd name="T121" fmla="*/ 645 h 904"/>
                <a:gd name="T122" fmla="*/ 231 w 592"/>
                <a:gd name="T123" fmla="*/ 90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92" h="904">
                  <a:moveTo>
                    <a:pt x="163" y="11"/>
                  </a:moveTo>
                  <a:cubicBezTo>
                    <a:pt x="161" y="13"/>
                    <a:pt x="157" y="13"/>
                    <a:pt x="155" y="15"/>
                  </a:cubicBezTo>
                  <a:cubicBezTo>
                    <a:pt x="149" y="21"/>
                    <a:pt x="142" y="27"/>
                    <a:pt x="137" y="34"/>
                  </a:cubicBezTo>
                  <a:cubicBezTo>
                    <a:pt x="137" y="34"/>
                    <a:pt x="132" y="39"/>
                    <a:pt x="133" y="39"/>
                  </a:cubicBezTo>
                  <a:cubicBezTo>
                    <a:pt x="128" y="39"/>
                    <a:pt x="129" y="47"/>
                    <a:pt x="128" y="50"/>
                  </a:cubicBezTo>
                  <a:cubicBezTo>
                    <a:pt x="127" y="52"/>
                    <a:pt x="126" y="53"/>
                    <a:pt x="126" y="55"/>
                  </a:cubicBezTo>
                  <a:cubicBezTo>
                    <a:pt x="126" y="57"/>
                    <a:pt x="126" y="60"/>
                    <a:pt x="127" y="62"/>
                  </a:cubicBezTo>
                  <a:cubicBezTo>
                    <a:pt x="127" y="65"/>
                    <a:pt x="127" y="69"/>
                    <a:pt x="128" y="72"/>
                  </a:cubicBezTo>
                  <a:cubicBezTo>
                    <a:pt x="130" y="75"/>
                    <a:pt x="132" y="78"/>
                    <a:pt x="133" y="81"/>
                  </a:cubicBezTo>
                  <a:cubicBezTo>
                    <a:pt x="133" y="84"/>
                    <a:pt x="133" y="88"/>
                    <a:pt x="133" y="92"/>
                  </a:cubicBezTo>
                  <a:cubicBezTo>
                    <a:pt x="134" y="94"/>
                    <a:pt x="134" y="96"/>
                    <a:pt x="135" y="97"/>
                  </a:cubicBezTo>
                  <a:cubicBezTo>
                    <a:pt x="138" y="103"/>
                    <a:pt x="148" y="105"/>
                    <a:pt x="146" y="112"/>
                  </a:cubicBezTo>
                  <a:cubicBezTo>
                    <a:pt x="145" y="118"/>
                    <a:pt x="148" y="125"/>
                    <a:pt x="145" y="130"/>
                  </a:cubicBezTo>
                  <a:cubicBezTo>
                    <a:pt x="144" y="131"/>
                    <a:pt x="143" y="132"/>
                    <a:pt x="142" y="133"/>
                  </a:cubicBezTo>
                  <a:cubicBezTo>
                    <a:pt x="140" y="134"/>
                    <a:pt x="139" y="134"/>
                    <a:pt x="138" y="135"/>
                  </a:cubicBezTo>
                  <a:cubicBezTo>
                    <a:pt x="135" y="138"/>
                    <a:pt x="129" y="149"/>
                    <a:pt x="128" y="153"/>
                  </a:cubicBezTo>
                  <a:cubicBezTo>
                    <a:pt x="126" y="157"/>
                    <a:pt x="125" y="161"/>
                    <a:pt x="121" y="162"/>
                  </a:cubicBezTo>
                  <a:cubicBezTo>
                    <a:pt x="101" y="168"/>
                    <a:pt x="78" y="171"/>
                    <a:pt x="57" y="176"/>
                  </a:cubicBezTo>
                  <a:cubicBezTo>
                    <a:pt x="54" y="177"/>
                    <a:pt x="52" y="179"/>
                    <a:pt x="49" y="181"/>
                  </a:cubicBezTo>
                  <a:cubicBezTo>
                    <a:pt x="47" y="183"/>
                    <a:pt x="45" y="185"/>
                    <a:pt x="43" y="188"/>
                  </a:cubicBezTo>
                  <a:cubicBezTo>
                    <a:pt x="43" y="188"/>
                    <a:pt x="42" y="191"/>
                    <a:pt x="42" y="191"/>
                  </a:cubicBezTo>
                  <a:lnTo>
                    <a:pt x="24" y="192"/>
                  </a:lnTo>
                  <a:lnTo>
                    <a:pt x="27" y="224"/>
                  </a:lnTo>
                  <a:cubicBezTo>
                    <a:pt x="24" y="230"/>
                    <a:pt x="24" y="235"/>
                    <a:pt x="23" y="240"/>
                  </a:cubicBezTo>
                  <a:cubicBezTo>
                    <a:pt x="21" y="248"/>
                    <a:pt x="19" y="256"/>
                    <a:pt x="18" y="264"/>
                  </a:cubicBezTo>
                  <a:cubicBezTo>
                    <a:pt x="16" y="272"/>
                    <a:pt x="16" y="280"/>
                    <a:pt x="11" y="287"/>
                  </a:cubicBezTo>
                  <a:cubicBezTo>
                    <a:pt x="10" y="289"/>
                    <a:pt x="7" y="290"/>
                    <a:pt x="6" y="292"/>
                  </a:cubicBezTo>
                  <a:cubicBezTo>
                    <a:pt x="6" y="295"/>
                    <a:pt x="4" y="298"/>
                    <a:pt x="6" y="302"/>
                  </a:cubicBezTo>
                  <a:cubicBezTo>
                    <a:pt x="7" y="305"/>
                    <a:pt x="10" y="307"/>
                    <a:pt x="11" y="310"/>
                  </a:cubicBezTo>
                  <a:cubicBezTo>
                    <a:pt x="11" y="315"/>
                    <a:pt x="8" y="321"/>
                    <a:pt x="7" y="326"/>
                  </a:cubicBezTo>
                  <a:cubicBezTo>
                    <a:pt x="3" y="339"/>
                    <a:pt x="0" y="357"/>
                    <a:pt x="17" y="363"/>
                  </a:cubicBezTo>
                  <a:cubicBezTo>
                    <a:pt x="20" y="364"/>
                    <a:pt x="23" y="366"/>
                    <a:pt x="22" y="369"/>
                  </a:cubicBezTo>
                  <a:cubicBezTo>
                    <a:pt x="22" y="370"/>
                    <a:pt x="21" y="371"/>
                    <a:pt x="21" y="371"/>
                  </a:cubicBezTo>
                  <a:cubicBezTo>
                    <a:pt x="20" y="377"/>
                    <a:pt x="24" y="384"/>
                    <a:pt x="24" y="384"/>
                  </a:cubicBezTo>
                  <a:lnTo>
                    <a:pt x="13" y="388"/>
                  </a:lnTo>
                  <a:lnTo>
                    <a:pt x="14" y="421"/>
                  </a:lnTo>
                  <a:lnTo>
                    <a:pt x="33" y="421"/>
                  </a:lnTo>
                  <a:cubicBezTo>
                    <a:pt x="37" y="428"/>
                    <a:pt x="56" y="616"/>
                    <a:pt x="61" y="622"/>
                  </a:cubicBezTo>
                  <a:cubicBezTo>
                    <a:pt x="99" y="621"/>
                    <a:pt x="175" y="620"/>
                    <a:pt x="175" y="620"/>
                  </a:cubicBezTo>
                  <a:cubicBezTo>
                    <a:pt x="175" y="620"/>
                    <a:pt x="182" y="642"/>
                    <a:pt x="184" y="644"/>
                  </a:cubicBezTo>
                  <a:lnTo>
                    <a:pt x="209" y="645"/>
                  </a:lnTo>
                  <a:lnTo>
                    <a:pt x="208" y="661"/>
                  </a:lnTo>
                  <a:lnTo>
                    <a:pt x="200" y="661"/>
                  </a:lnTo>
                  <a:cubicBezTo>
                    <a:pt x="200" y="661"/>
                    <a:pt x="199" y="678"/>
                    <a:pt x="197" y="680"/>
                  </a:cubicBezTo>
                  <a:cubicBezTo>
                    <a:pt x="197" y="681"/>
                    <a:pt x="70" y="666"/>
                    <a:pt x="70" y="666"/>
                  </a:cubicBezTo>
                  <a:cubicBezTo>
                    <a:pt x="65" y="665"/>
                    <a:pt x="52" y="677"/>
                    <a:pt x="47" y="679"/>
                  </a:cubicBezTo>
                  <a:lnTo>
                    <a:pt x="47" y="699"/>
                  </a:lnTo>
                  <a:lnTo>
                    <a:pt x="86" y="709"/>
                  </a:lnTo>
                  <a:cubicBezTo>
                    <a:pt x="86" y="709"/>
                    <a:pt x="14" y="730"/>
                    <a:pt x="0" y="734"/>
                  </a:cubicBezTo>
                  <a:lnTo>
                    <a:pt x="0" y="761"/>
                  </a:lnTo>
                  <a:lnTo>
                    <a:pt x="14" y="768"/>
                  </a:lnTo>
                  <a:lnTo>
                    <a:pt x="196" y="743"/>
                  </a:lnTo>
                  <a:cubicBezTo>
                    <a:pt x="196" y="743"/>
                    <a:pt x="198" y="742"/>
                    <a:pt x="199" y="742"/>
                  </a:cubicBezTo>
                  <a:cubicBezTo>
                    <a:pt x="202" y="742"/>
                    <a:pt x="205" y="745"/>
                    <a:pt x="205" y="745"/>
                  </a:cubicBezTo>
                  <a:lnTo>
                    <a:pt x="246" y="808"/>
                  </a:lnTo>
                  <a:lnTo>
                    <a:pt x="273" y="807"/>
                  </a:lnTo>
                  <a:cubicBezTo>
                    <a:pt x="273" y="807"/>
                    <a:pt x="276" y="793"/>
                    <a:pt x="275" y="787"/>
                  </a:cubicBezTo>
                  <a:cubicBezTo>
                    <a:pt x="270" y="772"/>
                    <a:pt x="255" y="740"/>
                    <a:pt x="255" y="740"/>
                  </a:cubicBezTo>
                  <a:lnTo>
                    <a:pt x="273" y="741"/>
                  </a:lnTo>
                  <a:lnTo>
                    <a:pt x="275" y="756"/>
                  </a:lnTo>
                  <a:cubicBezTo>
                    <a:pt x="275" y="756"/>
                    <a:pt x="279" y="760"/>
                    <a:pt x="281" y="760"/>
                  </a:cubicBezTo>
                  <a:cubicBezTo>
                    <a:pt x="281" y="761"/>
                    <a:pt x="284" y="762"/>
                    <a:pt x="284" y="762"/>
                  </a:cubicBezTo>
                  <a:cubicBezTo>
                    <a:pt x="284" y="762"/>
                    <a:pt x="288" y="763"/>
                    <a:pt x="288" y="764"/>
                  </a:cubicBezTo>
                  <a:cubicBezTo>
                    <a:pt x="291" y="764"/>
                    <a:pt x="293" y="766"/>
                    <a:pt x="293" y="766"/>
                  </a:cubicBezTo>
                  <a:cubicBezTo>
                    <a:pt x="293" y="766"/>
                    <a:pt x="294" y="781"/>
                    <a:pt x="294" y="785"/>
                  </a:cubicBezTo>
                  <a:cubicBezTo>
                    <a:pt x="295" y="791"/>
                    <a:pt x="296" y="797"/>
                    <a:pt x="295" y="803"/>
                  </a:cubicBezTo>
                  <a:cubicBezTo>
                    <a:pt x="293" y="808"/>
                    <a:pt x="289" y="812"/>
                    <a:pt x="288" y="818"/>
                  </a:cubicBezTo>
                  <a:cubicBezTo>
                    <a:pt x="287" y="822"/>
                    <a:pt x="287" y="826"/>
                    <a:pt x="287" y="831"/>
                  </a:cubicBezTo>
                  <a:cubicBezTo>
                    <a:pt x="287" y="836"/>
                    <a:pt x="286" y="841"/>
                    <a:pt x="287" y="846"/>
                  </a:cubicBezTo>
                  <a:cubicBezTo>
                    <a:pt x="287" y="851"/>
                    <a:pt x="288" y="856"/>
                    <a:pt x="290" y="860"/>
                  </a:cubicBezTo>
                  <a:cubicBezTo>
                    <a:pt x="292" y="863"/>
                    <a:pt x="293" y="865"/>
                    <a:pt x="295" y="866"/>
                  </a:cubicBezTo>
                  <a:cubicBezTo>
                    <a:pt x="297" y="867"/>
                    <a:pt x="311" y="871"/>
                    <a:pt x="316" y="867"/>
                  </a:cubicBezTo>
                  <a:cubicBezTo>
                    <a:pt x="318" y="866"/>
                    <a:pt x="318" y="870"/>
                    <a:pt x="319" y="870"/>
                  </a:cubicBezTo>
                  <a:cubicBezTo>
                    <a:pt x="321" y="872"/>
                    <a:pt x="323" y="877"/>
                    <a:pt x="325" y="880"/>
                  </a:cubicBezTo>
                  <a:cubicBezTo>
                    <a:pt x="328" y="884"/>
                    <a:pt x="331" y="888"/>
                    <a:pt x="334" y="892"/>
                  </a:cubicBezTo>
                  <a:cubicBezTo>
                    <a:pt x="337" y="895"/>
                    <a:pt x="341" y="896"/>
                    <a:pt x="344" y="898"/>
                  </a:cubicBezTo>
                  <a:cubicBezTo>
                    <a:pt x="354" y="904"/>
                    <a:pt x="368" y="901"/>
                    <a:pt x="379" y="901"/>
                  </a:cubicBezTo>
                  <a:cubicBezTo>
                    <a:pt x="383" y="901"/>
                    <a:pt x="385" y="899"/>
                    <a:pt x="389" y="898"/>
                  </a:cubicBezTo>
                  <a:cubicBezTo>
                    <a:pt x="391" y="895"/>
                    <a:pt x="393" y="894"/>
                    <a:pt x="394" y="890"/>
                  </a:cubicBezTo>
                  <a:cubicBezTo>
                    <a:pt x="395" y="881"/>
                    <a:pt x="391" y="871"/>
                    <a:pt x="386" y="864"/>
                  </a:cubicBezTo>
                  <a:cubicBezTo>
                    <a:pt x="383" y="859"/>
                    <a:pt x="378" y="857"/>
                    <a:pt x="375" y="852"/>
                  </a:cubicBezTo>
                  <a:cubicBezTo>
                    <a:pt x="368" y="843"/>
                    <a:pt x="362" y="833"/>
                    <a:pt x="354" y="823"/>
                  </a:cubicBezTo>
                  <a:cubicBezTo>
                    <a:pt x="342" y="808"/>
                    <a:pt x="338" y="797"/>
                    <a:pt x="339" y="777"/>
                  </a:cubicBezTo>
                  <a:cubicBezTo>
                    <a:pt x="339" y="775"/>
                    <a:pt x="338" y="766"/>
                    <a:pt x="340" y="764"/>
                  </a:cubicBezTo>
                  <a:cubicBezTo>
                    <a:pt x="342" y="762"/>
                    <a:pt x="345" y="761"/>
                    <a:pt x="348" y="760"/>
                  </a:cubicBezTo>
                  <a:cubicBezTo>
                    <a:pt x="349" y="760"/>
                    <a:pt x="350" y="759"/>
                    <a:pt x="350" y="758"/>
                  </a:cubicBezTo>
                  <a:cubicBezTo>
                    <a:pt x="350" y="759"/>
                    <a:pt x="352" y="756"/>
                    <a:pt x="352" y="756"/>
                  </a:cubicBezTo>
                  <a:cubicBezTo>
                    <a:pt x="352" y="752"/>
                    <a:pt x="352" y="747"/>
                    <a:pt x="352" y="743"/>
                  </a:cubicBezTo>
                  <a:lnTo>
                    <a:pt x="422" y="751"/>
                  </a:lnTo>
                  <a:cubicBezTo>
                    <a:pt x="422" y="751"/>
                    <a:pt x="435" y="745"/>
                    <a:pt x="436" y="745"/>
                  </a:cubicBezTo>
                  <a:lnTo>
                    <a:pt x="436" y="724"/>
                  </a:lnTo>
                  <a:cubicBezTo>
                    <a:pt x="435" y="724"/>
                    <a:pt x="435" y="721"/>
                    <a:pt x="433" y="722"/>
                  </a:cubicBezTo>
                  <a:cubicBezTo>
                    <a:pt x="432" y="722"/>
                    <a:pt x="353" y="703"/>
                    <a:pt x="352" y="702"/>
                  </a:cubicBezTo>
                  <a:cubicBezTo>
                    <a:pt x="352" y="702"/>
                    <a:pt x="355" y="630"/>
                    <a:pt x="355" y="617"/>
                  </a:cubicBezTo>
                  <a:cubicBezTo>
                    <a:pt x="362" y="619"/>
                    <a:pt x="375" y="613"/>
                    <a:pt x="376" y="622"/>
                  </a:cubicBezTo>
                  <a:cubicBezTo>
                    <a:pt x="377" y="626"/>
                    <a:pt x="397" y="652"/>
                    <a:pt x="400" y="655"/>
                  </a:cubicBezTo>
                  <a:cubicBezTo>
                    <a:pt x="401" y="655"/>
                    <a:pt x="414" y="650"/>
                    <a:pt x="419" y="648"/>
                  </a:cubicBezTo>
                  <a:lnTo>
                    <a:pt x="421" y="650"/>
                  </a:lnTo>
                  <a:cubicBezTo>
                    <a:pt x="422" y="651"/>
                    <a:pt x="424" y="656"/>
                    <a:pt x="425" y="657"/>
                  </a:cubicBezTo>
                  <a:cubicBezTo>
                    <a:pt x="430" y="664"/>
                    <a:pt x="435" y="671"/>
                    <a:pt x="437" y="680"/>
                  </a:cubicBezTo>
                  <a:cubicBezTo>
                    <a:pt x="438" y="684"/>
                    <a:pt x="442" y="687"/>
                    <a:pt x="444" y="691"/>
                  </a:cubicBezTo>
                  <a:cubicBezTo>
                    <a:pt x="450" y="703"/>
                    <a:pt x="445" y="722"/>
                    <a:pt x="448" y="734"/>
                  </a:cubicBezTo>
                  <a:cubicBezTo>
                    <a:pt x="449" y="740"/>
                    <a:pt x="451" y="745"/>
                    <a:pt x="453" y="751"/>
                  </a:cubicBezTo>
                  <a:cubicBezTo>
                    <a:pt x="454" y="752"/>
                    <a:pt x="454" y="754"/>
                    <a:pt x="454" y="755"/>
                  </a:cubicBezTo>
                  <a:cubicBezTo>
                    <a:pt x="455" y="756"/>
                    <a:pt x="458" y="757"/>
                    <a:pt x="459" y="759"/>
                  </a:cubicBezTo>
                  <a:cubicBezTo>
                    <a:pt x="463" y="764"/>
                    <a:pt x="468" y="764"/>
                    <a:pt x="474" y="765"/>
                  </a:cubicBezTo>
                  <a:cubicBezTo>
                    <a:pt x="477" y="767"/>
                    <a:pt x="481" y="768"/>
                    <a:pt x="484" y="767"/>
                  </a:cubicBezTo>
                  <a:cubicBezTo>
                    <a:pt x="485" y="766"/>
                    <a:pt x="493" y="759"/>
                    <a:pt x="494" y="759"/>
                  </a:cubicBezTo>
                  <a:cubicBezTo>
                    <a:pt x="494" y="759"/>
                    <a:pt x="506" y="763"/>
                    <a:pt x="508" y="764"/>
                  </a:cubicBezTo>
                  <a:cubicBezTo>
                    <a:pt x="511" y="764"/>
                    <a:pt x="515" y="765"/>
                    <a:pt x="519" y="765"/>
                  </a:cubicBezTo>
                  <a:cubicBezTo>
                    <a:pt x="543" y="766"/>
                    <a:pt x="562" y="754"/>
                    <a:pt x="581" y="741"/>
                  </a:cubicBezTo>
                  <a:cubicBezTo>
                    <a:pt x="583" y="739"/>
                    <a:pt x="585" y="738"/>
                    <a:pt x="587" y="736"/>
                  </a:cubicBezTo>
                  <a:cubicBezTo>
                    <a:pt x="587" y="735"/>
                    <a:pt x="588" y="734"/>
                    <a:pt x="589" y="733"/>
                  </a:cubicBezTo>
                  <a:cubicBezTo>
                    <a:pt x="589" y="732"/>
                    <a:pt x="591" y="731"/>
                    <a:pt x="591" y="730"/>
                  </a:cubicBezTo>
                  <a:cubicBezTo>
                    <a:pt x="592" y="727"/>
                    <a:pt x="592" y="725"/>
                    <a:pt x="590" y="723"/>
                  </a:cubicBezTo>
                  <a:cubicBezTo>
                    <a:pt x="589" y="721"/>
                    <a:pt x="587" y="717"/>
                    <a:pt x="585" y="716"/>
                  </a:cubicBezTo>
                  <a:cubicBezTo>
                    <a:pt x="577" y="709"/>
                    <a:pt x="558" y="711"/>
                    <a:pt x="548" y="707"/>
                  </a:cubicBezTo>
                  <a:cubicBezTo>
                    <a:pt x="536" y="704"/>
                    <a:pt x="525" y="698"/>
                    <a:pt x="515" y="691"/>
                  </a:cubicBezTo>
                  <a:cubicBezTo>
                    <a:pt x="495" y="677"/>
                    <a:pt x="479" y="657"/>
                    <a:pt x="464" y="639"/>
                  </a:cubicBezTo>
                  <a:cubicBezTo>
                    <a:pt x="460" y="634"/>
                    <a:pt x="455" y="629"/>
                    <a:pt x="452" y="623"/>
                  </a:cubicBezTo>
                  <a:cubicBezTo>
                    <a:pt x="450" y="620"/>
                    <a:pt x="450" y="617"/>
                    <a:pt x="450" y="617"/>
                  </a:cubicBezTo>
                  <a:cubicBezTo>
                    <a:pt x="450" y="617"/>
                    <a:pt x="455" y="609"/>
                    <a:pt x="458" y="603"/>
                  </a:cubicBezTo>
                  <a:cubicBezTo>
                    <a:pt x="461" y="597"/>
                    <a:pt x="464" y="591"/>
                    <a:pt x="466" y="585"/>
                  </a:cubicBezTo>
                  <a:cubicBezTo>
                    <a:pt x="466" y="584"/>
                    <a:pt x="468" y="575"/>
                    <a:pt x="469" y="575"/>
                  </a:cubicBezTo>
                  <a:cubicBezTo>
                    <a:pt x="468" y="574"/>
                    <a:pt x="382" y="468"/>
                    <a:pt x="382" y="468"/>
                  </a:cubicBezTo>
                  <a:cubicBezTo>
                    <a:pt x="382" y="468"/>
                    <a:pt x="386" y="416"/>
                    <a:pt x="387" y="415"/>
                  </a:cubicBezTo>
                  <a:cubicBezTo>
                    <a:pt x="398" y="415"/>
                    <a:pt x="420" y="414"/>
                    <a:pt x="421" y="413"/>
                  </a:cubicBezTo>
                  <a:cubicBezTo>
                    <a:pt x="421" y="413"/>
                    <a:pt x="420" y="383"/>
                    <a:pt x="419" y="380"/>
                  </a:cubicBezTo>
                  <a:lnTo>
                    <a:pt x="370" y="380"/>
                  </a:lnTo>
                  <a:cubicBezTo>
                    <a:pt x="372" y="377"/>
                    <a:pt x="372" y="374"/>
                    <a:pt x="373" y="371"/>
                  </a:cubicBezTo>
                  <a:cubicBezTo>
                    <a:pt x="375" y="369"/>
                    <a:pt x="377" y="366"/>
                    <a:pt x="378" y="363"/>
                  </a:cubicBezTo>
                  <a:cubicBezTo>
                    <a:pt x="378" y="362"/>
                    <a:pt x="377" y="359"/>
                    <a:pt x="377" y="358"/>
                  </a:cubicBezTo>
                  <a:cubicBezTo>
                    <a:pt x="377" y="347"/>
                    <a:pt x="373" y="338"/>
                    <a:pt x="370" y="327"/>
                  </a:cubicBezTo>
                  <a:cubicBezTo>
                    <a:pt x="369" y="323"/>
                    <a:pt x="365" y="317"/>
                    <a:pt x="362" y="315"/>
                  </a:cubicBezTo>
                  <a:cubicBezTo>
                    <a:pt x="360" y="313"/>
                    <a:pt x="357" y="312"/>
                    <a:pt x="356" y="310"/>
                  </a:cubicBezTo>
                  <a:cubicBezTo>
                    <a:pt x="351" y="302"/>
                    <a:pt x="350" y="292"/>
                    <a:pt x="346" y="284"/>
                  </a:cubicBezTo>
                  <a:cubicBezTo>
                    <a:pt x="342" y="276"/>
                    <a:pt x="336" y="268"/>
                    <a:pt x="330" y="262"/>
                  </a:cubicBezTo>
                  <a:cubicBezTo>
                    <a:pt x="328" y="260"/>
                    <a:pt x="327" y="256"/>
                    <a:pt x="325" y="254"/>
                  </a:cubicBezTo>
                  <a:cubicBezTo>
                    <a:pt x="323" y="251"/>
                    <a:pt x="321" y="247"/>
                    <a:pt x="321" y="247"/>
                  </a:cubicBezTo>
                  <a:cubicBezTo>
                    <a:pt x="321" y="247"/>
                    <a:pt x="325" y="186"/>
                    <a:pt x="323" y="186"/>
                  </a:cubicBezTo>
                  <a:lnTo>
                    <a:pt x="291" y="186"/>
                  </a:lnTo>
                  <a:lnTo>
                    <a:pt x="286" y="181"/>
                  </a:lnTo>
                  <a:cubicBezTo>
                    <a:pt x="286" y="180"/>
                    <a:pt x="283" y="179"/>
                    <a:pt x="282" y="178"/>
                  </a:cubicBezTo>
                  <a:cubicBezTo>
                    <a:pt x="280" y="177"/>
                    <a:pt x="279" y="177"/>
                    <a:pt x="277" y="176"/>
                  </a:cubicBezTo>
                  <a:cubicBezTo>
                    <a:pt x="257" y="172"/>
                    <a:pt x="237" y="168"/>
                    <a:pt x="217" y="164"/>
                  </a:cubicBezTo>
                  <a:cubicBezTo>
                    <a:pt x="216" y="164"/>
                    <a:pt x="210" y="161"/>
                    <a:pt x="211" y="159"/>
                  </a:cubicBezTo>
                  <a:cubicBezTo>
                    <a:pt x="211" y="157"/>
                    <a:pt x="210" y="155"/>
                    <a:pt x="211" y="153"/>
                  </a:cubicBezTo>
                  <a:cubicBezTo>
                    <a:pt x="211" y="153"/>
                    <a:pt x="212" y="150"/>
                    <a:pt x="212" y="149"/>
                  </a:cubicBezTo>
                  <a:cubicBezTo>
                    <a:pt x="213" y="148"/>
                    <a:pt x="214" y="146"/>
                    <a:pt x="214" y="145"/>
                  </a:cubicBezTo>
                  <a:cubicBezTo>
                    <a:pt x="215" y="143"/>
                    <a:pt x="216" y="142"/>
                    <a:pt x="218" y="140"/>
                  </a:cubicBezTo>
                  <a:cubicBezTo>
                    <a:pt x="219" y="138"/>
                    <a:pt x="220" y="137"/>
                    <a:pt x="221" y="135"/>
                  </a:cubicBezTo>
                  <a:cubicBezTo>
                    <a:pt x="223" y="133"/>
                    <a:pt x="223" y="131"/>
                    <a:pt x="224" y="129"/>
                  </a:cubicBezTo>
                  <a:cubicBezTo>
                    <a:pt x="228" y="123"/>
                    <a:pt x="231" y="116"/>
                    <a:pt x="232" y="109"/>
                  </a:cubicBezTo>
                  <a:cubicBezTo>
                    <a:pt x="232" y="107"/>
                    <a:pt x="232" y="106"/>
                    <a:pt x="232" y="104"/>
                  </a:cubicBezTo>
                  <a:cubicBezTo>
                    <a:pt x="232" y="102"/>
                    <a:pt x="232" y="100"/>
                    <a:pt x="232" y="98"/>
                  </a:cubicBezTo>
                  <a:cubicBezTo>
                    <a:pt x="232" y="96"/>
                    <a:pt x="238" y="96"/>
                    <a:pt x="239" y="95"/>
                  </a:cubicBezTo>
                  <a:cubicBezTo>
                    <a:pt x="240" y="92"/>
                    <a:pt x="239" y="88"/>
                    <a:pt x="239" y="85"/>
                  </a:cubicBezTo>
                  <a:cubicBezTo>
                    <a:pt x="239" y="82"/>
                    <a:pt x="239" y="79"/>
                    <a:pt x="238" y="76"/>
                  </a:cubicBezTo>
                  <a:cubicBezTo>
                    <a:pt x="237" y="75"/>
                    <a:pt x="237" y="73"/>
                    <a:pt x="235" y="74"/>
                  </a:cubicBezTo>
                  <a:cubicBezTo>
                    <a:pt x="230" y="64"/>
                    <a:pt x="240" y="63"/>
                    <a:pt x="242" y="57"/>
                  </a:cubicBezTo>
                  <a:cubicBezTo>
                    <a:pt x="242" y="55"/>
                    <a:pt x="244" y="55"/>
                    <a:pt x="244" y="52"/>
                  </a:cubicBezTo>
                  <a:cubicBezTo>
                    <a:pt x="245" y="51"/>
                    <a:pt x="244" y="48"/>
                    <a:pt x="244" y="46"/>
                  </a:cubicBezTo>
                  <a:cubicBezTo>
                    <a:pt x="244" y="43"/>
                    <a:pt x="244" y="39"/>
                    <a:pt x="244" y="36"/>
                  </a:cubicBezTo>
                  <a:cubicBezTo>
                    <a:pt x="244" y="34"/>
                    <a:pt x="243" y="32"/>
                    <a:pt x="242" y="31"/>
                  </a:cubicBezTo>
                  <a:cubicBezTo>
                    <a:pt x="240" y="28"/>
                    <a:pt x="233" y="23"/>
                    <a:pt x="234" y="18"/>
                  </a:cubicBezTo>
                  <a:cubicBezTo>
                    <a:pt x="232" y="18"/>
                    <a:pt x="232" y="17"/>
                    <a:pt x="231" y="16"/>
                  </a:cubicBezTo>
                  <a:cubicBezTo>
                    <a:pt x="231" y="15"/>
                    <a:pt x="228" y="13"/>
                    <a:pt x="228" y="13"/>
                  </a:cubicBezTo>
                  <a:cubicBezTo>
                    <a:pt x="227" y="10"/>
                    <a:pt x="220" y="11"/>
                    <a:pt x="218" y="11"/>
                  </a:cubicBezTo>
                  <a:cubicBezTo>
                    <a:pt x="214" y="9"/>
                    <a:pt x="212" y="6"/>
                    <a:pt x="209" y="4"/>
                  </a:cubicBezTo>
                  <a:cubicBezTo>
                    <a:pt x="207" y="3"/>
                    <a:pt x="205" y="1"/>
                    <a:pt x="203" y="1"/>
                  </a:cubicBezTo>
                  <a:cubicBezTo>
                    <a:pt x="203" y="1"/>
                    <a:pt x="202" y="1"/>
                    <a:pt x="202" y="0"/>
                  </a:cubicBezTo>
                  <a:lnTo>
                    <a:pt x="183" y="0"/>
                  </a:lnTo>
                  <a:cubicBezTo>
                    <a:pt x="178" y="2"/>
                    <a:pt x="172" y="4"/>
                    <a:pt x="167" y="6"/>
                  </a:cubicBezTo>
                  <a:cubicBezTo>
                    <a:pt x="165" y="7"/>
                    <a:pt x="164" y="9"/>
                    <a:pt x="163" y="11"/>
                  </a:cubicBezTo>
                  <a:close/>
                  <a:moveTo>
                    <a:pt x="227" y="645"/>
                  </a:moveTo>
                  <a:cubicBezTo>
                    <a:pt x="233" y="645"/>
                    <a:pt x="253" y="645"/>
                    <a:pt x="253" y="645"/>
                  </a:cubicBezTo>
                  <a:lnTo>
                    <a:pt x="258" y="620"/>
                  </a:lnTo>
                  <a:lnTo>
                    <a:pt x="269" y="619"/>
                  </a:lnTo>
                  <a:lnTo>
                    <a:pt x="272" y="665"/>
                  </a:lnTo>
                  <a:lnTo>
                    <a:pt x="237" y="678"/>
                  </a:lnTo>
                  <a:lnTo>
                    <a:pt x="235" y="661"/>
                  </a:lnTo>
                  <a:lnTo>
                    <a:pt x="227" y="661"/>
                  </a:lnTo>
                  <a:lnTo>
                    <a:pt x="227" y="645"/>
                  </a:lnTo>
                  <a:close/>
                  <a:moveTo>
                    <a:pt x="234" y="80"/>
                  </a:moveTo>
                  <a:lnTo>
                    <a:pt x="234" y="90"/>
                  </a:lnTo>
                  <a:lnTo>
                    <a:pt x="231" y="90"/>
                  </a:lnTo>
                  <a:lnTo>
                    <a:pt x="231" y="83"/>
                  </a:lnTo>
                  <a:cubicBezTo>
                    <a:pt x="231" y="80"/>
                    <a:pt x="230" y="79"/>
                    <a:pt x="234" y="8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" name="Freeform 14"/>
            <p:cNvSpPr>
              <a:spLocks noEditPoints="1"/>
            </p:cNvSpPr>
            <p:nvPr/>
          </p:nvSpPr>
          <p:spPr bwMode="auto">
            <a:xfrm>
              <a:off x="9069388" y="4899025"/>
              <a:ext cx="766763" cy="330200"/>
            </a:xfrm>
            <a:custGeom>
              <a:avLst/>
              <a:gdLst>
                <a:gd name="T0" fmla="*/ 1136 w 2101"/>
                <a:gd name="T1" fmla="*/ 435 h 902"/>
                <a:gd name="T2" fmla="*/ 878 w 2101"/>
                <a:gd name="T3" fmla="*/ 735 h 902"/>
                <a:gd name="T4" fmla="*/ 1348 w 2101"/>
                <a:gd name="T5" fmla="*/ 426 h 902"/>
                <a:gd name="T6" fmla="*/ 1907 w 2101"/>
                <a:gd name="T7" fmla="*/ 736 h 902"/>
                <a:gd name="T8" fmla="*/ 1628 w 2101"/>
                <a:gd name="T9" fmla="*/ 522 h 902"/>
                <a:gd name="T10" fmla="*/ 204 w 2101"/>
                <a:gd name="T11" fmla="*/ 738 h 902"/>
                <a:gd name="T12" fmla="*/ 351 w 2101"/>
                <a:gd name="T13" fmla="*/ 549 h 902"/>
                <a:gd name="T14" fmla="*/ 801 w 2101"/>
                <a:gd name="T15" fmla="*/ 735 h 902"/>
                <a:gd name="T16" fmla="*/ 0 w 2101"/>
                <a:gd name="T17" fmla="*/ 278 h 902"/>
                <a:gd name="T18" fmla="*/ 337 w 2101"/>
                <a:gd name="T19" fmla="*/ 607 h 902"/>
                <a:gd name="T20" fmla="*/ 1348 w 2101"/>
                <a:gd name="T21" fmla="*/ 686 h 902"/>
                <a:gd name="T22" fmla="*/ 1334 w 2101"/>
                <a:gd name="T23" fmla="*/ 157 h 902"/>
                <a:gd name="T24" fmla="*/ 1383 w 2101"/>
                <a:gd name="T25" fmla="*/ 79 h 902"/>
                <a:gd name="T26" fmla="*/ 1128 w 2101"/>
                <a:gd name="T27" fmla="*/ 101 h 902"/>
                <a:gd name="T28" fmla="*/ 1128 w 2101"/>
                <a:gd name="T29" fmla="*/ 101 h 902"/>
                <a:gd name="T30" fmla="*/ 1116 w 2101"/>
                <a:gd name="T31" fmla="*/ 56 h 902"/>
                <a:gd name="T32" fmla="*/ 1253 w 2101"/>
                <a:gd name="T33" fmla="*/ 80 h 902"/>
                <a:gd name="T34" fmla="*/ 1225 w 2101"/>
                <a:gd name="T35" fmla="*/ 180 h 902"/>
                <a:gd name="T36" fmla="*/ 984 w 2101"/>
                <a:gd name="T37" fmla="*/ 157 h 902"/>
                <a:gd name="T38" fmla="*/ 1064 w 2101"/>
                <a:gd name="T39" fmla="*/ 212 h 902"/>
                <a:gd name="T40" fmla="*/ 967 w 2101"/>
                <a:gd name="T41" fmla="*/ 131 h 902"/>
                <a:gd name="T42" fmla="*/ 505 w 2101"/>
                <a:gd name="T43" fmla="*/ 181 h 902"/>
                <a:gd name="T44" fmla="*/ 492 w 2101"/>
                <a:gd name="T45" fmla="*/ 112 h 902"/>
                <a:gd name="T46" fmla="*/ 497 w 2101"/>
                <a:gd name="T47" fmla="*/ 32 h 902"/>
                <a:gd name="T48" fmla="*/ 547 w 2101"/>
                <a:gd name="T49" fmla="*/ 12 h 902"/>
                <a:gd name="T50" fmla="*/ 563 w 2101"/>
                <a:gd name="T51" fmla="*/ 112 h 902"/>
                <a:gd name="T52" fmla="*/ 563 w 2101"/>
                <a:gd name="T53" fmla="*/ 225 h 902"/>
                <a:gd name="T54" fmla="*/ 492 w 2101"/>
                <a:gd name="T55" fmla="*/ 201 h 902"/>
                <a:gd name="T56" fmla="*/ 614 w 2101"/>
                <a:gd name="T57" fmla="*/ 194 h 902"/>
                <a:gd name="T58" fmla="*/ 622 w 2101"/>
                <a:gd name="T59" fmla="*/ 176 h 902"/>
                <a:gd name="T60" fmla="*/ 573 w 2101"/>
                <a:gd name="T61" fmla="*/ 112 h 902"/>
                <a:gd name="T62" fmla="*/ 573 w 2101"/>
                <a:gd name="T63" fmla="*/ 54 h 902"/>
                <a:gd name="T64" fmla="*/ 643 w 2101"/>
                <a:gd name="T65" fmla="*/ 33 h 902"/>
                <a:gd name="T66" fmla="*/ 655 w 2101"/>
                <a:gd name="T67" fmla="*/ 192 h 902"/>
                <a:gd name="T68" fmla="*/ 628 w 2101"/>
                <a:gd name="T69" fmla="*/ 190 h 902"/>
                <a:gd name="T70" fmla="*/ 573 w 2101"/>
                <a:gd name="T71" fmla="*/ 236 h 902"/>
                <a:gd name="T72" fmla="*/ 797 w 2101"/>
                <a:gd name="T73" fmla="*/ 91 h 902"/>
                <a:gd name="T74" fmla="*/ 792 w 2101"/>
                <a:gd name="T75" fmla="*/ 56 h 902"/>
                <a:gd name="T76" fmla="*/ 719 w 2101"/>
                <a:gd name="T77" fmla="*/ 56 h 902"/>
                <a:gd name="T78" fmla="*/ 843 w 2101"/>
                <a:gd name="T79" fmla="*/ 174 h 902"/>
                <a:gd name="T80" fmla="*/ 884 w 2101"/>
                <a:gd name="T81" fmla="*/ 54 h 902"/>
                <a:gd name="T82" fmla="*/ 864 w 2101"/>
                <a:gd name="T83" fmla="*/ 106 h 902"/>
                <a:gd name="T84" fmla="*/ 1910 w 2101"/>
                <a:gd name="T85" fmla="*/ 125 h 902"/>
                <a:gd name="T86" fmla="*/ 1912 w 2101"/>
                <a:gd name="T87" fmla="*/ 76 h 902"/>
                <a:gd name="T88" fmla="*/ 1965 w 2101"/>
                <a:gd name="T89" fmla="*/ 144 h 902"/>
                <a:gd name="T90" fmla="*/ 1873 w 2101"/>
                <a:gd name="T91" fmla="*/ 58 h 902"/>
                <a:gd name="T92" fmla="*/ 1819 w 2101"/>
                <a:gd name="T93" fmla="*/ 80 h 902"/>
                <a:gd name="T94" fmla="*/ 1791 w 2101"/>
                <a:gd name="T95" fmla="*/ 180 h 902"/>
                <a:gd name="T96" fmla="*/ 2040 w 2101"/>
                <a:gd name="T97" fmla="*/ 182 h 902"/>
                <a:gd name="T98" fmla="*/ 1573 w 2101"/>
                <a:gd name="T99" fmla="*/ 120 h 902"/>
                <a:gd name="T100" fmla="*/ 1627 w 2101"/>
                <a:gd name="T101" fmla="*/ 139 h 902"/>
                <a:gd name="T102" fmla="*/ 1565 w 2101"/>
                <a:gd name="T103" fmla="*/ 181 h 902"/>
                <a:gd name="T104" fmla="*/ 1673 w 2101"/>
                <a:gd name="T105" fmla="*/ 118 h 902"/>
                <a:gd name="T106" fmla="*/ 1709 w 2101"/>
                <a:gd name="T107" fmla="*/ 182 h 902"/>
                <a:gd name="T108" fmla="*/ 1506 w 2101"/>
                <a:gd name="T109" fmla="*/ 180 h 902"/>
                <a:gd name="T110" fmla="*/ 1402 w 2101"/>
                <a:gd name="T111" fmla="*/ 182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101" h="902">
                  <a:moveTo>
                    <a:pt x="878" y="435"/>
                  </a:moveTo>
                  <a:lnTo>
                    <a:pt x="951" y="435"/>
                  </a:lnTo>
                  <a:lnTo>
                    <a:pt x="951" y="548"/>
                  </a:lnTo>
                  <a:lnTo>
                    <a:pt x="1063" y="548"/>
                  </a:lnTo>
                  <a:lnTo>
                    <a:pt x="1063" y="435"/>
                  </a:lnTo>
                  <a:lnTo>
                    <a:pt x="1136" y="435"/>
                  </a:lnTo>
                  <a:lnTo>
                    <a:pt x="1136" y="735"/>
                  </a:lnTo>
                  <a:lnTo>
                    <a:pt x="1063" y="735"/>
                  </a:lnTo>
                  <a:lnTo>
                    <a:pt x="1063" y="606"/>
                  </a:lnTo>
                  <a:lnTo>
                    <a:pt x="951" y="606"/>
                  </a:lnTo>
                  <a:lnTo>
                    <a:pt x="951" y="735"/>
                  </a:lnTo>
                  <a:lnTo>
                    <a:pt x="878" y="735"/>
                  </a:lnTo>
                  <a:lnTo>
                    <a:pt x="878" y="435"/>
                  </a:lnTo>
                  <a:close/>
                  <a:moveTo>
                    <a:pt x="1348" y="426"/>
                  </a:moveTo>
                  <a:cubicBezTo>
                    <a:pt x="1454" y="426"/>
                    <a:pt x="1504" y="494"/>
                    <a:pt x="1504" y="585"/>
                  </a:cubicBezTo>
                  <a:cubicBezTo>
                    <a:pt x="1504" y="676"/>
                    <a:pt x="1454" y="744"/>
                    <a:pt x="1348" y="744"/>
                  </a:cubicBezTo>
                  <a:cubicBezTo>
                    <a:pt x="1226" y="744"/>
                    <a:pt x="1191" y="655"/>
                    <a:pt x="1191" y="585"/>
                  </a:cubicBezTo>
                  <a:cubicBezTo>
                    <a:pt x="1191" y="515"/>
                    <a:pt x="1226" y="426"/>
                    <a:pt x="1348" y="426"/>
                  </a:cubicBezTo>
                  <a:close/>
                  <a:moveTo>
                    <a:pt x="1554" y="436"/>
                  </a:moveTo>
                  <a:lnTo>
                    <a:pt x="1657" y="436"/>
                  </a:lnTo>
                  <a:lnTo>
                    <a:pt x="1731" y="642"/>
                  </a:lnTo>
                  <a:lnTo>
                    <a:pt x="1804" y="436"/>
                  </a:lnTo>
                  <a:lnTo>
                    <a:pt x="1907" y="436"/>
                  </a:lnTo>
                  <a:lnTo>
                    <a:pt x="1907" y="736"/>
                  </a:lnTo>
                  <a:lnTo>
                    <a:pt x="1834" y="736"/>
                  </a:lnTo>
                  <a:lnTo>
                    <a:pt x="1834" y="522"/>
                  </a:lnTo>
                  <a:lnTo>
                    <a:pt x="1833" y="522"/>
                  </a:lnTo>
                  <a:lnTo>
                    <a:pt x="1756" y="736"/>
                  </a:lnTo>
                  <a:lnTo>
                    <a:pt x="1706" y="736"/>
                  </a:lnTo>
                  <a:lnTo>
                    <a:pt x="1628" y="522"/>
                  </a:lnTo>
                  <a:lnTo>
                    <a:pt x="1627" y="522"/>
                  </a:lnTo>
                  <a:lnTo>
                    <a:pt x="1627" y="736"/>
                  </a:lnTo>
                  <a:lnTo>
                    <a:pt x="1554" y="736"/>
                  </a:lnTo>
                  <a:lnTo>
                    <a:pt x="1554" y="436"/>
                  </a:lnTo>
                  <a:close/>
                  <a:moveTo>
                    <a:pt x="351" y="738"/>
                  </a:moveTo>
                  <a:lnTo>
                    <a:pt x="204" y="738"/>
                  </a:lnTo>
                  <a:lnTo>
                    <a:pt x="204" y="437"/>
                  </a:lnTo>
                  <a:lnTo>
                    <a:pt x="444" y="437"/>
                  </a:lnTo>
                  <a:lnTo>
                    <a:pt x="444" y="496"/>
                  </a:lnTo>
                  <a:lnTo>
                    <a:pt x="277" y="496"/>
                  </a:lnTo>
                  <a:lnTo>
                    <a:pt x="277" y="549"/>
                  </a:lnTo>
                  <a:lnTo>
                    <a:pt x="351" y="549"/>
                  </a:lnTo>
                  <a:cubicBezTo>
                    <a:pt x="377" y="549"/>
                    <a:pt x="469" y="551"/>
                    <a:pt x="469" y="647"/>
                  </a:cubicBezTo>
                  <a:cubicBezTo>
                    <a:pt x="469" y="708"/>
                    <a:pt x="423" y="738"/>
                    <a:pt x="351" y="738"/>
                  </a:cubicBezTo>
                  <a:close/>
                  <a:moveTo>
                    <a:pt x="605" y="628"/>
                  </a:moveTo>
                  <a:lnTo>
                    <a:pt x="728" y="434"/>
                  </a:lnTo>
                  <a:lnTo>
                    <a:pt x="801" y="434"/>
                  </a:lnTo>
                  <a:lnTo>
                    <a:pt x="801" y="735"/>
                  </a:lnTo>
                  <a:lnTo>
                    <a:pt x="728" y="735"/>
                  </a:lnTo>
                  <a:lnTo>
                    <a:pt x="728" y="538"/>
                  </a:lnTo>
                  <a:lnTo>
                    <a:pt x="605" y="735"/>
                  </a:lnTo>
                  <a:lnTo>
                    <a:pt x="532" y="735"/>
                  </a:lnTo>
                  <a:lnTo>
                    <a:pt x="532" y="278"/>
                  </a:lnTo>
                  <a:lnTo>
                    <a:pt x="0" y="278"/>
                  </a:lnTo>
                  <a:lnTo>
                    <a:pt x="0" y="902"/>
                  </a:lnTo>
                  <a:lnTo>
                    <a:pt x="2098" y="902"/>
                  </a:lnTo>
                  <a:lnTo>
                    <a:pt x="2098" y="278"/>
                  </a:lnTo>
                  <a:lnTo>
                    <a:pt x="605" y="278"/>
                  </a:lnTo>
                  <a:lnTo>
                    <a:pt x="605" y="628"/>
                  </a:lnTo>
                  <a:close/>
                  <a:moveTo>
                    <a:pt x="337" y="607"/>
                  </a:moveTo>
                  <a:lnTo>
                    <a:pt x="277" y="607"/>
                  </a:lnTo>
                  <a:lnTo>
                    <a:pt x="277" y="679"/>
                  </a:lnTo>
                  <a:lnTo>
                    <a:pt x="336" y="679"/>
                  </a:lnTo>
                  <a:cubicBezTo>
                    <a:pt x="364" y="679"/>
                    <a:pt x="390" y="674"/>
                    <a:pt x="390" y="645"/>
                  </a:cubicBezTo>
                  <a:cubicBezTo>
                    <a:pt x="390" y="609"/>
                    <a:pt x="355" y="607"/>
                    <a:pt x="337" y="607"/>
                  </a:cubicBezTo>
                  <a:close/>
                  <a:moveTo>
                    <a:pt x="1348" y="686"/>
                  </a:moveTo>
                  <a:cubicBezTo>
                    <a:pt x="1422" y="686"/>
                    <a:pt x="1426" y="610"/>
                    <a:pt x="1426" y="585"/>
                  </a:cubicBezTo>
                  <a:cubicBezTo>
                    <a:pt x="1426" y="558"/>
                    <a:pt x="1422" y="485"/>
                    <a:pt x="1348" y="485"/>
                  </a:cubicBezTo>
                  <a:cubicBezTo>
                    <a:pt x="1308" y="485"/>
                    <a:pt x="1271" y="506"/>
                    <a:pt x="1271" y="585"/>
                  </a:cubicBezTo>
                  <a:cubicBezTo>
                    <a:pt x="1271" y="664"/>
                    <a:pt x="1308" y="686"/>
                    <a:pt x="1348" y="686"/>
                  </a:cubicBezTo>
                  <a:close/>
                  <a:moveTo>
                    <a:pt x="1385" y="157"/>
                  </a:moveTo>
                  <a:lnTo>
                    <a:pt x="1334" y="157"/>
                  </a:lnTo>
                  <a:lnTo>
                    <a:pt x="1334" y="128"/>
                  </a:lnTo>
                  <a:lnTo>
                    <a:pt x="1380" y="128"/>
                  </a:lnTo>
                  <a:lnTo>
                    <a:pt x="1380" y="105"/>
                  </a:lnTo>
                  <a:lnTo>
                    <a:pt x="1334" y="105"/>
                  </a:lnTo>
                  <a:lnTo>
                    <a:pt x="1334" y="79"/>
                  </a:lnTo>
                  <a:lnTo>
                    <a:pt x="1383" y="79"/>
                  </a:lnTo>
                  <a:lnTo>
                    <a:pt x="1383" y="56"/>
                  </a:lnTo>
                  <a:lnTo>
                    <a:pt x="1306" y="56"/>
                  </a:lnTo>
                  <a:lnTo>
                    <a:pt x="1306" y="180"/>
                  </a:lnTo>
                  <a:lnTo>
                    <a:pt x="1385" y="180"/>
                  </a:lnTo>
                  <a:lnTo>
                    <a:pt x="1385" y="157"/>
                  </a:lnTo>
                  <a:close/>
                  <a:moveTo>
                    <a:pt x="1128" y="101"/>
                  </a:moveTo>
                  <a:cubicBezTo>
                    <a:pt x="1130" y="94"/>
                    <a:pt x="1132" y="85"/>
                    <a:pt x="1133" y="77"/>
                  </a:cubicBezTo>
                  <a:lnTo>
                    <a:pt x="1134" y="77"/>
                  </a:lnTo>
                  <a:cubicBezTo>
                    <a:pt x="1136" y="85"/>
                    <a:pt x="1138" y="94"/>
                    <a:pt x="1140" y="101"/>
                  </a:cubicBezTo>
                  <a:lnTo>
                    <a:pt x="1148" y="127"/>
                  </a:lnTo>
                  <a:lnTo>
                    <a:pt x="1120" y="127"/>
                  </a:lnTo>
                  <a:lnTo>
                    <a:pt x="1128" y="101"/>
                  </a:lnTo>
                  <a:close/>
                  <a:moveTo>
                    <a:pt x="1116" y="148"/>
                  </a:moveTo>
                  <a:lnTo>
                    <a:pt x="1152" y="148"/>
                  </a:lnTo>
                  <a:lnTo>
                    <a:pt x="1161" y="180"/>
                  </a:lnTo>
                  <a:lnTo>
                    <a:pt x="1192" y="180"/>
                  </a:lnTo>
                  <a:lnTo>
                    <a:pt x="1153" y="56"/>
                  </a:lnTo>
                  <a:lnTo>
                    <a:pt x="1116" y="56"/>
                  </a:lnTo>
                  <a:lnTo>
                    <a:pt x="1079" y="180"/>
                  </a:lnTo>
                  <a:lnTo>
                    <a:pt x="1108" y="180"/>
                  </a:lnTo>
                  <a:lnTo>
                    <a:pt x="1116" y="148"/>
                  </a:lnTo>
                  <a:close/>
                  <a:moveTo>
                    <a:pt x="1225" y="180"/>
                  </a:moveTo>
                  <a:lnTo>
                    <a:pt x="1253" y="180"/>
                  </a:lnTo>
                  <a:lnTo>
                    <a:pt x="1253" y="80"/>
                  </a:lnTo>
                  <a:lnTo>
                    <a:pt x="1287" y="80"/>
                  </a:lnTo>
                  <a:lnTo>
                    <a:pt x="1287" y="56"/>
                  </a:lnTo>
                  <a:lnTo>
                    <a:pt x="1191" y="56"/>
                  </a:lnTo>
                  <a:lnTo>
                    <a:pt x="1191" y="80"/>
                  </a:lnTo>
                  <a:lnTo>
                    <a:pt x="1225" y="80"/>
                  </a:lnTo>
                  <a:lnTo>
                    <a:pt x="1225" y="180"/>
                  </a:lnTo>
                  <a:close/>
                  <a:moveTo>
                    <a:pt x="993" y="136"/>
                  </a:moveTo>
                  <a:cubicBezTo>
                    <a:pt x="996" y="124"/>
                    <a:pt x="998" y="110"/>
                    <a:pt x="998" y="96"/>
                  </a:cubicBezTo>
                  <a:lnTo>
                    <a:pt x="998" y="79"/>
                  </a:lnTo>
                  <a:lnTo>
                    <a:pt x="1025" y="79"/>
                  </a:lnTo>
                  <a:lnTo>
                    <a:pt x="1025" y="157"/>
                  </a:lnTo>
                  <a:lnTo>
                    <a:pt x="984" y="157"/>
                  </a:lnTo>
                  <a:cubicBezTo>
                    <a:pt x="987" y="151"/>
                    <a:pt x="990" y="144"/>
                    <a:pt x="993" y="136"/>
                  </a:cubicBezTo>
                  <a:close/>
                  <a:moveTo>
                    <a:pt x="968" y="212"/>
                  </a:moveTo>
                  <a:lnTo>
                    <a:pt x="969" y="180"/>
                  </a:lnTo>
                  <a:lnTo>
                    <a:pt x="1041" y="180"/>
                  </a:lnTo>
                  <a:lnTo>
                    <a:pt x="1043" y="212"/>
                  </a:lnTo>
                  <a:lnTo>
                    <a:pt x="1064" y="212"/>
                  </a:lnTo>
                  <a:lnTo>
                    <a:pt x="1066" y="159"/>
                  </a:lnTo>
                  <a:lnTo>
                    <a:pt x="1053" y="158"/>
                  </a:lnTo>
                  <a:lnTo>
                    <a:pt x="1053" y="56"/>
                  </a:lnTo>
                  <a:lnTo>
                    <a:pt x="972" y="56"/>
                  </a:lnTo>
                  <a:lnTo>
                    <a:pt x="972" y="89"/>
                  </a:lnTo>
                  <a:cubicBezTo>
                    <a:pt x="972" y="104"/>
                    <a:pt x="971" y="118"/>
                    <a:pt x="967" y="131"/>
                  </a:cubicBezTo>
                  <a:cubicBezTo>
                    <a:pt x="964" y="140"/>
                    <a:pt x="960" y="149"/>
                    <a:pt x="955" y="158"/>
                  </a:cubicBezTo>
                  <a:lnTo>
                    <a:pt x="945" y="159"/>
                  </a:lnTo>
                  <a:lnTo>
                    <a:pt x="946" y="212"/>
                  </a:lnTo>
                  <a:lnTo>
                    <a:pt x="968" y="212"/>
                  </a:lnTo>
                  <a:close/>
                  <a:moveTo>
                    <a:pt x="492" y="122"/>
                  </a:moveTo>
                  <a:cubicBezTo>
                    <a:pt x="493" y="144"/>
                    <a:pt x="498" y="164"/>
                    <a:pt x="505" y="181"/>
                  </a:cubicBezTo>
                  <a:cubicBezTo>
                    <a:pt x="495" y="186"/>
                    <a:pt x="488" y="191"/>
                    <a:pt x="484" y="193"/>
                  </a:cubicBezTo>
                  <a:cubicBezTo>
                    <a:pt x="464" y="175"/>
                    <a:pt x="451" y="150"/>
                    <a:pt x="450" y="122"/>
                  </a:cubicBezTo>
                  <a:lnTo>
                    <a:pt x="492" y="122"/>
                  </a:lnTo>
                  <a:close/>
                  <a:moveTo>
                    <a:pt x="488" y="39"/>
                  </a:moveTo>
                  <a:cubicBezTo>
                    <a:pt x="493" y="42"/>
                    <a:pt x="500" y="46"/>
                    <a:pt x="508" y="50"/>
                  </a:cubicBezTo>
                  <a:cubicBezTo>
                    <a:pt x="500" y="67"/>
                    <a:pt x="493" y="88"/>
                    <a:pt x="492" y="112"/>
                  </a:cubicBezTo>
                  <a:lnTo>
                    <a:pt x="450" y="112"/>
                  </a:lnTo>
                  <a:cubicBezTo>
                    <a:pt x="452" y="83"/>
                    <a:pt x="466" y="57"/>
                    <a:pt x="488" y="39"/>
                  </a:cubicBezTo>
                  <a:close/>
                  <a:moveTo>
                    <a:pt x="529" y="16"/>
                  </a:moveTo>
                  <a:cubicBezTo>
                    <a:pt x="524" y="22"/>
                    <a:pt x="519" y="31"/>
                    <a:pt x="513" y="41"/>
                  </a:cubicBezTo>
                  <a:cubicBezTo>
                    <a:pt x="512" y="40"/>
                    <a:pt x="511" y="40"/>
                    <a:pt x="511" y="40"/>
                  </a:cubicBezTo>
                  <a:cubicBezTo>
                    <a:pt x="505" y="37"/>
                    <a:pt x="501" y="34"/>
                    <a:pt x="497" y="32"/>
                  </a:cubicBezTo>
                  <a:cubicBezTo>
                    <a:pt x="507" y="25"/>
                    <a:pt x="518" y="20"/>
                    <a:pt x="529" y="16"/>
                  </a:cubicBezTo>
                  <a:close/>
                  <a:moveTo>
                    <a:pt x="563" y="10"/>
                  </a:moveTo>
                  <a:lnTo>
                    <a:pt x="563" y="53"/>
                  </a:lnTo>
                  <a:cubicBezTo>
                    <a:pt x="548" y="53"/>
                    <a:pt x="534" y="49"/>
                    <a:pt x="523" y="45"/>
                  </a:cubicBezTo>
                  <a:cubicBezTo>
                    <a:pt x="524" y="43"/>
                    <a:pt x="525" y="42"/>
                    <a:pt x="526" y="40"/>
                  </a:cubicBezTo>
                  <a:cubicBezTo>
                    <a:pt x="535" y="25"/>
                    <a:pt x="545" y="15"/>
                    <a:pt x="547" y="12"/>
                  </a:cubicBezTo>
                  <a:cubicBezTo>
                    <a:pt x="553" y="11"/>
                    <a:pt x="558" y="10"/>
                    <a:pt x="563" y="10"/>
                  </a:cubicBezTo>
                  <a:close/>
                  <a:moveTo>
                    <a:pt x="563" y="112"/>
                  </a:moveTo>
                  <a:lnTo>
                    <a:pt x="503" y="112"/>
                  </a:lnTo>
                  <a:cubicBezTo>
                    <a:pt x="504" y="90"/>
                    <a:pt x="510" y="71"/>
                    <a:pt x="518" y="55"/>
                  </a:cubicBezTo>
                  <a:cubicBezTo>
                    <a:pt x="530" y="60"/>
                    <a:pt x="546" y="63"/>
                    <a:pt x="563" y="64"/>
                  </a:cubicBezTo>
                  <a:lnTo>
                    <a:pt x="563" y="112"/>
                  </a:lnTo>
                  <a:close/>
                  <a:moveTo>
                    <a:pt x="563" y="166"/>
                  </a:moveTo>
                  <a:cubicBezTo>
                    <a:pt x="544" y="166"/>
                    <a:pt x="528" y="171"/>
                    <a:pt x="515" y="176"/>
                  </a:cubicBezTo>
                  <a:cubicBezTo>
                    <a:pt x="509" y="161"/>
                    <a:pt x="504" y="143"/>
                    <a:pt x="503" y="122"/>
                  </a:cubicBezTo>
                  <a:lnTo>
                    <a:pt x="563" y="122"/>
                  </a:lnTo>
                  <a:lnTo>
                    <a:pt x="563" y="166"/>
                  </a:lnTo>
                  <a:close/>
                  <a:moveTo>
                    <a:pt x="563" y="225"/>
                  </a:moveTo>
                  <a:cubicBezTo>
                    <a:pt x="556" y="225"/>
                    <a:pt x="549" y="224"/>
                    <a:pt x="542" y="223"/>
                  </a:cubicBezTo>
                  <a:cubicBezTo>
                    <a:pt x="539" y="219"/>
                    <a:pt x="531" y="209"/>
                    <a:pt x="523" y="194"/>
                  </a:cubicBezTo>
                  <a:cubicBezTo>
                    <a:pt x="522" y="192"/>
                    <a:pt x="520" y="189"/>
                    <a:pt x="519" y="186"/>
                  </a:cubicBezTo>
                  <a:cubicBezTo>
                    <a:pt x="531" y="181"/>
                    <a:pt x="546" y="177"/>
                    <a:pt x="563" y="176"/>
                  </a:cubicBezTo>
                  <a:lnTo>
                    <a:pt x="563" y="225"/>
                  </a:lnTo>
                  <a:close/>
                  <a:moveTo>
                    <a:pt x="492" y="201"/>
                  </a:moveTo>
                  <a:cubicBezTo>
                    <a:pt x="496" y="198"/>
                    <a:pt x="502" y="194"/>
                    <a:pt x="509" y="191"/>
                  </a:cubicBezTo>
                  <a:cubicBezTo>
                    <a:pt x="515" y="202"/>
                    <a:pt x="520" y="211"/>
                    <a:pt x="525" y="218"/>
                  </a:cubicBezTo>
                  <a:cubicBezTo>
                    <a:pt x="513" y="214"/>
                    <a:pt x="502" y="208"/>
                    <a:pt x="492" y="201"/>
                  </a:cubicBezTo>
                  <a:close/>
                  <a:moveTo>
                    <a:pt x="573" y="176"/>
                  </a:moveTo>
                  <a:cubicBezTo>
                    <a:pt x="591" y="177"/>
                    <a:pt x="606" y="181"/>
                    <a:pt x="618" y="186"/>
                  </a:cubicBezTo>
                  <a:cubicBezTo>
                    <a:pt x="617" y="189"/>
                    <a:pt x="615" y="191"/>
                    <a:pt x="614" y="194"/>
                  </a:cubicBezTo>
                  <a:cubicBezTo>
                    <a:pt x="605" y="210"/>
                    <a:pt x="597" y="220"/>
                    <a:pt x="594" y="223"/>
                  </a:cubicBezTo>
                  <a:cubicBezTo>
                    <a:pt x="588" y="224"/>
                    <a:pt x="580" y="225"/>
                    <a:pt x="573" y="225"/>
                  </a:cubicBezTo>
                  <a:lnTo>
                    <a:pt x="573" y="176"/>
                  </a:lnTo>
                  <a:close/>
                  <a:moveTo>
                    <a:pt x="573" y="122"/>
                  </a:moveTo>
                  <a:lnTo>
                    <a:pt x="634" y="122"/>
                  </a:lnTo>
                  <a:cubicBezTo>
                    <a:pt x="633" y="142"/>
                    <a:pt x="628" y="161"/>
                    <a:pt x="622" y="176"/>
                  </a:cubicBezTo>
                  <a:cubicBezTo>
                    <a:pt x="609" y="171"/>
                    <a:pt x="592" y="167"/>
                    <a:pt x="573" y="166"/>
                  </a:cubicBezTo>
                  <a:lnTo>
                    <a:pt x="573" y="122"/>
                  </a:lnTo>
                  <a:close/>
                  <a:moveTo>
                    <a:pt x="573" y="64"/>
                  </a:moveTo>
                  <a:cubicBezTo>
                    <a:pt x="591" y="64"/>
                    <a:pt x="607" y="60"/>
                    <a:pt x="620" y="56"/>
                  </a:cubicBezTo>
                  <a:cubicBezTo>
                    <a:pt x="627" y="71"/>
                    <a:pt x="633" y="91"/>
                    <a:pt x="634" y="112"/>
                  </a:cubicBezTo>
                  <a:lnTo>
                    <a:pt x="573" y="112"/>
                  </a:lnTo>
                  <a:lnTo>
                    <a:pt x="573" y="64"/>
                  </a:lnTo>
                  <a:close/>
                  <a:moveTo>
                    <a:pt x="573" y="10"/>
                  </a:moveTo>
                  <a:cubicBezTo>
                    <a:pt x="579" y="10"/>
                    <a:pt x="584" y="11"/>
                    <a:pt x="589" y="12"/>
                  </a:cubicBezTo>
                  <a:cubicBezTo>
                    <a:pt x="592" y="15"/>
                    <a:pt x="602" y="25"/>
                    <a:pt x="611" y="40"/>
                  </a:cubicBezTo>
                  <a:cubicBezTo>
                    <a:pt x="612" y="42"/>
                    <a:pt x="613" y="44"/>
                    <a:pt x="614" y="46"/>
                  </a:cubicBezTo>
                  <a:cubicBezTo>
                    <a:pt x="603" y="50"/>
                    <a:pt x="589" y="53"/>
                    <a:pt x="573" y="54"/>
                  </a:cubicBezTo>
                  <a:lnTo>
                    <a:pt x="573" y="10"/>
                  </a:lnTo>
                  <a:close/>
                  <a:moveTo>
                    <a:pt x="643" y="33"/>
                  </a:moveTo>
                  <a:cubicBezTo>
                    <a:pt x="639" y="35"/>
                    <a:pt x="634" y="38"/>
                    <a:pt x="627" y="41"/>
                  </a:cubicBezTo>
                  <a:cubicBezTo>
                    <a:pt x="626" y="41"/>
                    <a:pt x="625" y="42"/>
                    <a:pt x="625" y="42"/>
                  </a:cubicBezTo>
                  <a:cubicBezTo>
                    <a:pt x="619" y="31"/>
                    <a:pt x="612" y="22"/>
                    <a:pt x="607" y="16"/>
                  </a:cubicBezTo>
                  <a:cubicBezTo>
                    <a:pt x="620" y="20"/>
                    <a:pt x="632" y="26"/>
                    <a:pt x="643" y="33"/>
                  </a:cubicBezTo>
                  <a:close/>
                  <a:moveTo>
                    <a:pt x="688" y="112"/>
                  </a:moveTo>
                  <a:lnTo>
                    <a:pt x="645" y="112"/>
                  </a:lnTo>
                  <a:cubicBezTo>
                    <a:pt x="644" y="89"/>
                    <a:pt x="637" y="68"/>
                    <a:pt x="630" y="52"/>
                  </a:cubicBezTo>
                  <a:cubicBezTo>
                    <a:pt x="640" y="47"/>
                    <a:pt x="647" y="43"/>
                    <a:pt x="652" y="40"/>
                  </a:cubicBezTo>
                  <a:cubicBezTo>
                    <a:pt x="673" y="59"/>
                    <a:pt x="686" y="84"/>
                    <a:pt x="688" y="112"/>
                  </a:cubicBezTo>
                  <a:close/>
                  <a:moveTo>
                    <a:pt x="655" y="192"/>
                  </a:moveTo>
                  <a:cubicBezTo>
                    <a:pt x="654" y="192"/>
                    <a:pt x="646" y="186"/>
                    <a:pt x="632" y="180"/>
                  </a:cubicBezTo>
                  <a:cubicBezTo>
                    <a:pt x="639" y="164"/>
                    <a:pt x="644" y="144"/>
                    <a:pt x="645" y="122"/>
                  </a:cubicBezTo>
                  <a:lnTo>
                    <a:pt x="688" y="122"/>
                  </a:lnTo>
                  <a:cubicBezTo>
                    <a:pt x="687" y="150"/>
                    <a:pt x="674" y="174"/>
                    <a:pt x="655" y="192"/>
                  </a:cubicBezTo>
                  <a:close/>
                  <a:moveTo>
                    <a:pt x="612" y="218"/>
                  </a:moveTo>
                  <a:cubicBezTo>
                    <a:pt x="616" y="211"/>
                    <a:pt x="622" y="202"/>
                    <a:pt x="628" y="190"/>
                  </a:cubicBezTo>
                  <a:cubicBezTo>
                    <a:pt x="637" y="194"/>
                    <a:pt x="643" y="198"/>
                    <a:pt x="646" y="200"/>
                  </a:cubicBezTo>
                  <a:cubicBezTo>
                    <a:pt x="636" y="208"/>
                    <a:pt x="624" y="214"/>
                    <a:pt x="612" y="218"/>
                  </a:cubicBezTo>
                  <a:close/>
                  <a:moveTo>
                    <a:pt x="563" y="236"/>
                  </a:moveTo>
                  <a:lnTo>
                    <a:pt x="563" y="236"/>
                  </a:lnTo>
                  <a:lnTo>
                    <a:pt x="573" y="236"/>
                  </a:lnTo>
                  <a:lnTo>
                    <a:pt x="573" y="236"/>
                  </a:lnTo>
                  <a:cubicBezTo>
                    <a:pt x="643" y="234"/>
                    <a:pt x="699" y="182"/>
                    <a:pt x="699" y="118"/>
                  </a:cubicBezTo>
                  <a:cubicBezTo>
                    <a:pt x="699" y="53"/>
                    <a:pt x="641" y="0"/>
                    <a:pt x="569" y="0"/>
                  </a:cubicBezTo>
                  <a:cubicBezTo>
                    <a:pt x="497" y="0"/>
                    <a:pt x="438" y="53"/>
                    <a:pt x="438" y="118"/>
                  </a:cubicBezTo>
                  <a:cubicBezTo>
                    <a:pt x="438" y="181"/>
                    <a:pt x="494" y="233"/>
                    <a:pt x="563" y="236"/>
                  </a:cubicBezTo>
                  <a:close/>
                  <a:moveTo>
                    <a:pt x="776" y="135"/>
                  </a:moveTo>
                  <a:cubicBezTo>
                    <a:pt x="783" y="122"/>
                    <a:pt x="791" y="106"/>
                    <a:pt x="797" y="91"/>
                  </a:cubicBezTo>
                  <a:lnTo>
                    <a:pt x="797" y="91"/>
                  </a:lnTo>
                  <a:cubicBezTo>
                    <a:pt x="796" y="107"/>
                    <a:pt x="795" y="124"/>
                    <a:pt x="795" y="144"/>
                  </a:cubicBezTo>
                  <a:lnTo>
                    <a:pt x="795" y="180"/>
                  </a:lnTo>
                  <a:lnTo>
                    <a:pt x="821" y="180"/>
                  </a:lnTo>
                  <a:lnTo>
                    <a:pt x="821" y="56"/>
                  </a:lnTo>
                  <a:lnTo>
                    <a:pt x="792" y="56"/>
                  </a:lnTo>
                  <a:lnTo>
                    <a:pt x="766" y="105"/>
                  </a:lnTo>
                  <a:cubicBezTo>
                    <a:pt x="758" y="118"/>
                    <a:pt x="750" y="135"/>
                    <a:pt x="744" y="149"/>
                  </a:cubicBezTo>
                  <a:lnTo>
                    <a:pt x="743" y="149"/>
                  </a:lnTo>
                  <a:cubicBezTo>
                    <a:pt x="744" y="133"/>
                    <a:pt x="744" y="113"/>
                    <a:pt x="744" y="93"/>
                  </a:cubicBezTo>
                  <a:lnTo>
                    <a:pt x="744" y="56"/>
                  </a:lnTo>
                  <a:lnTo>
                    <a:pt x="719" y="56"/>
                  </a:lnTo>
                  <a:lnTo>
                    <a:pt x="719" y="180"/>
                  </a:lnTo>
                  <a:lnTo>
                    <a:pt x="751" y="180"/>
                  </a:lnTo>
                  <a:lnTo>
                    <a:pt x="776" y="135"/>
                  </a:lnTo>
                  <a:close/>
                  <a:moveTo>
                    <a:pt x="879" y="159"/>
                  </a:moveTo>
                  <a:cubicBezTo>
                    <a:pt x="868" y="159"/>
                    <a:pt x="855" y="155"/>
                    <a:pt x="849" y="152"/>
                  </a:cubicBezTo>
                  <a:lnTo>
                    <a:pt x="843" y="174"/>
                  </a:lnTo>
                  <a:cubicBezTo>
                    <a:pt x="854" y="179"/>
                    <a:pt x="868" y="182"/>
                    <a:pt x="880" y="182"/>
                  </a:cubicBezTo>
                  <a:cubicBezTo>
                    <a:pt x="904" y="182"/>
                    <a:pt x="932" y="173"/>
                    <a:pt x="932" y="145"/>
                  </a:cubicBezTo>
                  <a:cubicBezTo>
                    <a:pt x="932" y="128"/>
                    <a:pt x="918" y="118"/>
                    <a:pt x="903" y="116"/>
                  </a:cubicBezTo>
                  <a:lnTo>
                    <a:pt x="903" y="115"/>
                  </a:lnTo>
                  <a:cubicBezTo>
                    <a:pt x="917" y="112"/>
                    <a:pt x="927" y="101"/>
                    <a:pt x="927" y="86"/>
                  </a:cubicBezTo>
                  <a:cubicBezTo>
                    <a:pt x="927" y="68"/>
                    <a:pt x="911" y="54"/>
                    <a:pt x="884" y="54"/>
                  </a:cubicBezTo>
                  <a:cubicBezTo>
                    <a:pt x="867" y="54"/>
                    <a:pt x="854" y="59"/>
                    <a:pt x="846" y="64"/>
                  </a:cubicBezTo>
                  <a:lnTo>
                    <a:pt x="852" y="84"/>
                  </a:lnTo>
                  <a:cubicBezTo>
                    <a:pt x="859" y="81"/>
                    <a:pt x="870" y="77"/>
                    <a:pt x="879" y="77"/>
                  </a:cubicBezTo>
                  <a:cubicBezTo>
                    <a:pt x="891" y="77"/>
                    <a:pt x="898" y="82"/>
                    <a:pt x="898" y="90"/>
                  </a:cubicBezTo>
                  <a:cubicBezTo>
                    <a:pt x="898" y="100"/>
                    <a:pt x="889" y="106"/>
                    <a:pt x="876" y="106"/>
                  </a:cubicBezTo>
                  <a:lnTo>
                    <a:pt x="864" y="106"/>
                  </a:lnTo>
                  <a:lnTo>
                    <a:pt x="864" y="127"/>
                  </a:lnTo>
                  <a:lnTo>
                    <a:pt x="876" y="127"/>
                  </a:lnTo>
                  <a:cubicBezTo>
                    <a:pt x="888" y="127"/>
                    <a:pt x="902" y="129"/>
                    <a:pt x="902" y="143"/>
                  </a:cubicBezTo>
                  <a:cubicBezTo>
                    <a:pt x="902" y="153"/>
                    <a:pt x="893" y="159"/>
                    <a:pt x="879" y="159"/>
                  </a:cubicBezTo>
                  <a:close/>
                  <a:moveTo>
                    <a:pt x="1900" y="125"/>
                  </a:moveTo>
                  <a:lnTo>
                    <a:pt x="1910" y="125"/>
                  </a:lnTo>
                  <a:cubicBezTo>
                    <a:pt x="1924" y="125"/>
                    <a:pt x="1935" y="130"/>
                    <a:pt x="1935" y="143"/>
                  </a:cubicBezTo>
                  <a:cubicBezTo>
                    <a:pt x="1935" y="156"/>
                    <a:pt x="1924" y="161"/>
                    <a:pt x="1911" y="161"/>
                  </a:cubicBezTo>
                  <a:cubicBezTo>
                    <a:pt x="1906" y="161"/>
                    <a:pt x="1903" y="161"/>
                    <a:pt x="1900" y="160"/>
                  </a:cubicBezTo>
                  <a:lnTo>
                    <a:pt x="1900" y="125"/>
                  </a:lnTo>
                  <a:close/>
                  <a:moveTo>
                    <a:pt x="1900" y="76"/>
                  </a:moveTo>
                  <a:cubicBezTo>
                    <a:pt x="1903" y="76"/>
                    <a:pt x="1906" y="76"/>
                    <a:pt x="1912" y="76"/>
                  </a:cubicBezTo>
                  <a:cubicBezTo>
                    <a:pt x="1925" y="76"/>
                    <a:pt x="1932" y="81"/>
                    <a:pt x="1932" y="90"/>
                  </a:cubicBezTo>
                  <a:cubicBezTo>
                    <a:pt x="1932" y="99"/>
                    <a:pt x="1924" y="105"/>
                    <a:pt x="1910" y="105"/>
                  </a:cubicBezTo>
                  <a:lnTo>
                    <a:pt x="1900" y="105"/>
                  </a:lnTo>
                  <a:lnTo>
                    <a:pt x="1900" y="76"/>
                  </a:lnTo>
                  <a:close/>
                  <a:moveTo>
                    <a:pt x="1952" y="170"/>
                  </a:moveTo>
                  <a:cubicBezTo>
                    <a:pt x="1959" y="164"/>
                    <a:pt x="1965" y="155"/>
                    <a:pt x="1965" y="144"/>
                  </a:cubicBezTo>
                  <a:cubicBezTo>
                    <a:pt x="1965" y="128"/>
                    <a:pt x="1954" y="117"/>
                    <a:pt x="1940" y="113"/>
                  </a:cubicBezTo>
                  <a:lnTo>
                    <a:pt x="1940" y="113"/>
                  </a:lnTo>
                  <a:cubicBezTo>
                    <a:pt x="1954" y="108"/>
                    <a:pt x="1960" y="98"/>
                    <a:pt x="1960" y="87"/>
                  </a:cubicBezTo>
                  <a:cubicBezTo>
                    <a:pt x="1960" y="75"/>
                    <a:pt x="1954" y="67"/>
                    <a:pt x="1945" y="62"/>
                  </a:cubicBezTo>
                  <a:cubicBezTo>
                    <a:pt x="1936" y="57"/>
                    <a:pt x="1926" y="55"/>
                    <a:pt x="1909" y="55"/>
                  </a:cubicBezTo>
                  <a:cubicBezTo>
                    <a:pt x="1895" y="55"/>
                    <a:pt x="1880" y="56"/>
                    <a:pt x="1873" y="58"/>
                  </a:cubicBezTo>
                  <a:lnTo>
                    <a:pt x="1873" y="180"/>
                  </a:lnTo>
                  <a:cubicBezTo>
                    <a:pt x="1879" y="180"/>
                    <a:pt x="1889" y="181"/>
                    <a:pt x="1903" y="181"/>
                  </a:cubicBezTo>
                  <a:cubicBezTo>
                    <a:pt x="1928" y="181"/>
                    <a:pt x="1943" y="177"/>
                    <a:pt x="1952" y="170"/>
                  </a:cubicBezTo>
                  <a:close/>
                  <a:moveTo>
                    <a:pt x="1791" y="180"/>
                  </a:moveTo>
                  <a:lnTo>
                    <a:pt x="1819" y="180"/>
                  </a:lnTo>
                  <a:lnTo>
                    <a:pt x="1819" y="80"/>
                  </a:lnTo>
                  <a:lnTo>
                    <a:pt x="1853" y="80"/>
                  </a:lnTo>
                  <a:lnTo>
                    <a:pt x="1853" y="56"/>
                  </a:lnTo>
                  <a:lnTo>
                    <a:pt x="1758" y="56"/>
                  </a:lnTo>
                  <a:lnTo>
                    <a:pt x="1758" y="80"/>
                  </a:lnTo>
                  <a:lnTo>
                    <a:pt x="1791" y="80"/>
                  </a:lnTo>
                  <a:lnTo>
                    <a:pt x="1791" y="180"/>
                  </a:lnTo>
                  <a:close/>
                  <a:moveTo>
                    <a:pt x="2041" y="76"/>
                  </a:moveTo>
                  <a:cubicBezTo>
                    <a:pt x="2061" y="76"/>
                    <a:pt x="2071" y="96"/>
                    <a:pt x="2071" y="118"/>
                  </a:cubicBezTo>
                  <a:cubicBezTo>
                    <a:pt x="2071" y="142"/>
                    <a:pt x="2061" y="160"/>
                    <a:pt x="2042" y="160"/>
                  </a:cubicBezTo>
                  <a:cubicBezTo>
                    <a:pt x="2023" y="160"/>
                    <a:pt x="2011" y="143"/>
                    <a:pt x="2011" y="119"/>
                  </a:cubicBezTo>
                  <a:cubicBezTo>
                    <a:pt x="2011" y="94"/>
                    <a:pt x="2022" y="76"/>
                    <a:pt x="2041" y="76"/>
                  </a:cubicBezTo>
                  <a:close/>
                  <a:moveTo>
                    <a:pt x="2040" y="182"/>
                  </a:moveTo>
                  <a:cubicBezTo>
                    <a:pt x="2076" y="182"/>
                    <a:pt x="2101" y="158"/>
                    <a:pt x="2101" y="117"/>
                  </a:cubicBezTo>
                  <a:cubicBezTo>
                    <a:pt x="2101" y="83"/>
                    <a:pt x="2080" y="54"/>
                    <a:pt x="2042" y="54"/>
                  </a:cubicBezTo>
                  <a:cubicBezTo>
                    <a:pt x="2006" y="54"/>
                    <a:pt x="1982" y="82"/>
                    <a:pt x="1982" y="119"/>
                  </a:cubicBezTo>
                  <a:cubicBezTo>
                    <a:pt x="1982" y="154"/>
                    <a:pt x="2003" y="182"/>
                    <a:pt x="2040" y="182"/>
                  </a:cubicBezTo>
                  <a:close/>
                  <a:moveTo>
                    <a:pt x="1563" y="121"/>
                  </a:moveTo>
                  <a:cubicBezTo>
                    <a:pt x="1566" y="120"/>
                    <a:pt x="1569" y="120"/>
                    <a:pt x="1573" y="120"/>
                  </a:cubicBezTo>
                  <a:cubicBezTo>
                    <a:pt x="1587" y="120"/>
                    <a:pt x="1598" y="126"/>
                    <a:pt x="1598" y="140"/>
                  </a:cubicBezTo>
                  <a:cubicBezTo>
                    <a:pt x="1598" y="154"/>
                    <a:pt x="1587" y="160"/>
                    <a:pt x="1573" y="160"/>
                  </a:cubicBezTo>
                  <a:cubicBezTo>
                    <a:pt x="1569" y="160"/>
                    <a:pt x="1566" y="160"/>
                    <a:pt x="1563" y="160"/>
                  </a:cubicBezTo>
                  <a:lnTo>
                    <a:pt x="1563" y="121"/>
                  </a:lnTo>
                  <a:close/>
                  <a:moveTo>
                    <a:pt x="1617" y="166"/>
                  </a:moveTo>
                  <a:cubicBezTo>
                    <a:pt x="1623" y="159"/>
                    <a:pt x="1627" y="150"/>
                    <a:pt x="1627" y="139"/>
                  </a:cubicBezTo>
                  <a:cubicBezTo>
                    <a:pt x="1627" y="111"/>
                    <a:pt x="1604" y="98"/>
                    <a:pt x="1578" y="98"/>
                  </a:cubicBezTo>
                  <a:cubicBezTo>
                    <a:pt x="1572" y="98"/>
                    <a:pt x="1567" y="99"/>
                    <a:pt x="1563" y="99"/>
                  </a:cubicBezTo>
                  <a:lnTo>
                    <a:pt x="1563" y="56"/>
                  </a:lnTo>
                  <a:lnTo>
                    <a:pt x="1535" y="56"/>
                  </a:lnTo>
                  <a:lnTo>
                    <a:pt x="1535" y="180"/>
                  </a:lnTo>
                  <a:cubicBezTo>
                    <a:pt x="1541" y="180"/>
                    <a:pt x="1551" y="181"/>
                    <a:pt x="1565" y="181"/>
                  </a:cubicBezTo>
                  <a:cubicBezTo>
                    <a:pt x="1584" y="181"/>
                    <a:pt x="1605" y="178"/>
                    <a:pt x="1617" y="166"/>
                  </a:cubicBezTo>
                  <a:close/>
                  <a:moveTo>
                    <a:pt x="1709" y="182"/>
                  </a:moveTo>
                  <a:cubicBezTo>
                    <a:pt x="1724" y="182"/>
                    <a:pt x="1735" y="179"/>
                    <a:pt x="1741" y="177"/>
                  </a:cubicBezTo>
                  <a:lnTo>
                    <a:pt x="1736" y="155"/>
                  </a:lnTo>
                  <a:cubicBezTo>
                    <a:pt x="1731" y="157"/>
                    <a:pt x="1721" y="159"/>
                    <a:pt x="1713" y="159"/>
                  </a:cubicBezTo>
                  <a:cubicBezTo>
                    <a:pt x="1688" y="159"/>
                    <a:pt x="1673" y="143"/>
                    <a:pt x="1673" y="118"/>
                  </a:cubicBezTo>
                  <a:cubicBezTo>
                    <a:pt x="1673" y="91"/>
                    <a:pt x="1691" y="77"/>
                    <a:pt x="1713" y="77"/>
                  </a:cubicBezTo>
                  <a:cubicBezTo>
                    <a:pt x="1723" y="77"/>
                    <a:pt x="1731" y="80"/>
                    <a:pt x="1736" y="82"/>
                  </a:cubicBezTo>
                  <a:lnTo>
                    <a:pt x="1742" y="60"/>
                  </a:lnTo>
                  <a:cubicBezTo>
                    <a:pt x="1737" y="57"/>
                    <a:pt x="1726" y="54"/>
                    <a:pt x="1712" y="54"/>
                  </a:cubicBezTo>
                  <a:cubicBezTo>
                    <a:pt x="1674" y="54"/>
                    <a:pt x="1644" y="78"/>
                    <a:pt x="1644" y="120"/>
                  </a:cubicBezTo>
                  <a:cubicBezTo>
                    <a:pt x="1644" y="155"/>
                    <a:pt x="1666" y="182"/>
                    <a:pt x="1709" y="182"/>
                  </a:cubicBezTo>
                  <a:close/>
                  <a:moveTo>
                    <a:pt x="1427" y="176"/>
                  </a:moveTo>
                  <a:cubicBezTo>
                    <a:pt x="1445" y="165"/>
                    <a:pt x="1450" y="140"/>
                    <a:pt x="1450" y="109"/>
                  </a:cubicBezTo>
                  <a:lnTo>
                    <a:pt x="1450" y="79"/>
                  </a:lnTo>
                  <a:lnTo>
                    <a:pt x="1478" y="79"/>
                  </a:lnTo>
                  <a:lnTo>
                    <a:pt x="1478" y="180"/>
                  </a:lnTo>
                  <a:lnTo>
                    <a:pt x="1506" y="180"/>
                  </a:lnTo>
                  <a:lnTo>
                    <a:pt x="1506" y="56"/>
                  </a:lnTo>
                  <a:lnTo>
                    <a:pt x="1422" y="56"/>
                  </a:lnTo>
                  <a:lnTo>
                    <a:pt x="1422" y="110"/>
                  </a:lnTo>
                  <a:cubicBezTo>
                    <a:pt x="1422" y="129"/>
                    <a:pt x="1420" y="145"/>
                    <a:pt x="1413" y="153"/>
                  </a:cubicBezTo>
                  <a:cubicBezTo>
                    <a:pt x="1410" y="156"/>
                    <a:pt x="1405" y="159"/>
                    <a:pt x="1399" y="160"/>
                  </a:cubicBezTo>
                  <a:lnTo>
                    <a:pt x="1402" y="182"/>
                  </a:lnTo>
                  <a:cubicBezTo>
                    <a:pt x="1412" y="182"/>
                    <a:pt x="1421" y="180"/>
                    <a:pt x="1427" y="1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pic>
        <p:nvPicPr>
          <p:cNvPr id="56322" name="Picture 2" descr="G:\2019\ПРОСВЕЩЕНИЕ\2020\август\августовка на переделку\Рисунок1.emf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9542" y="1655303"/>
            <a:ext cx="780452" cy="780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xmlns="" id="{1ACC3B95-724C-6E4A-B70A-030F46E10B58}"/>
              </a:ext>
            </a:extLst>
          </p:cNvPr>
          <p:cNvSpPr/>
          <p:nvPr/>
        </p:nvSpPr>
        <p:spPr>
          <a:xfrm>
            <a:off x="293761" y="5421243"/>
            <a:ext cx="1067002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Дубинина Софья Петровна,  ведущий методист Центра географии и картографии</a:t>
            </a:r>
          </a:p>
          <a:p>
            <a:r>
              <a:rPr lang="ru-RU" dirty="0"/>
              <a:t>АО «Издательство «Просвещение», </a:t>
            </a:r>
            <a:r>
              <a:rPr lang="en-US" dirty="0" err="1"/>
              <a:t>Sdubinina@prosv.ru</a:t>
            </a:r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386788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1" name="object 35"/>
          <p:cNvSpPr/>
          <p:nvPr/>
        </p:nvSpPr>
        <p:spPr>
          <a:xfrm>
            <a:off x="3759740" y="992505"/>
            <a:ext cx="997907" cy="1301126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400"/>
          </a:p>
        </p:txBody>
      </p:sp>
      <p:sp>
        <p:nvSpPr>
          <p:cNvPr id="269" name="object 29"/>
          <p:cNvSpPr/>
          <p:nvPr/>
        </p:nvSpPr>
        <p:spPr>
          <a:xfrm>
            <a:off x="2638018" y="988769"/>
            <a:ext cx="962151" cy="1299777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400"/>
          </a:p>
        </p:txBody>
      </p:sp>
      <p:sp>
        <p:nvSpPr>
          <p:cNvPr id="267" name="object 5"/>
          <p:cNvSpPr/>
          <p:nvPr/>
        </p:nvSpPr>
        <p:spPr>
          <a:xfrm>
            <a:off x="1401611" y="1003595"/>
            <a:ext cx="997907" cy="1292723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400"/>
          </a:p>
        </p:txBody>
      </p:sp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461" name="Слайд think-cell" r:id="rId8" imgW="359" imgH="360" progId="TCLayout.ActiveDocument.1">
                  <p:embed/>
                </p:oleObj>
              </mc:Choice>
              <mc:Fallback>
                <p:oleObj name="Слайд think-cell" r:id="rId8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xmlns="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11375669" y="2257824"/>
            <a:ext cx="812363" cy="754751"/>
          </a:xfrm>
          <a:prstGeom prst="rect">
            <a:avLst/>
          </a:prstGeom>
          <a:solidFill>
            <a:srgbClr val="40D4E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3"/>
          <p:cNvSpPr>
            <a:spLocks noChangeArrowheads="1"/>
          </p:cNvSpPr>
          <p:nvPr/>
        </p:nvSpPr>
        <p:spPr bwMode="auto">
          <a:xfrm>
            <a:off x="11375669" y="5267631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4"/>
          <p:cNvSpPr>
            <a:spLocks noChangeArrowheads="1"/>
          </p:cNvSpPr>
          <p:nvPr/>
        </p:nvSpPr>
        <p:spPr bwMode="auto">
          <a:xfrm>
            <a:off x="11376586" y="4522072"/>
            <a:ext cx="812363" cy="754751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17"/>
          <p:cNvSpPr>
            <a:spLocks noChangeArrowheads="1"/>
          </p:cNvSpPr>
          <p:nvPr/>
        </p:nvSpPr>
        <p:spPr bwMode="auto">
          <a:xfrm>
            <a:off x="11375670" y="-4589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19"/>
          <p:cNvSpPr>
            <a:spLocks noChangeArrowheads="1"/>
          </p:cNvSpPr>
          <p:nvPr/>
        </p:nvSpPr>
        <p:spPr bwMode="auto">
          <a:xfrm>
            <a:off x="11376586" y="3012572"/>
            <a:ext cx="812363" cy="754751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1"/>
          <p:cNvSpPr>
            <a:spLocks noChangeArrowheads="1"/>
          </p:cNvSpPr>
          <p:nvPr/>
        </p:nvSpPr>
        <p:spPr bwMode="auto">
          <a:xfrm>
            <a:off x="11376586" y="6031572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2"/>
          <p:cNvSpPr>
            <a:spLocks noChangeArrowheads="1"/>
          </p:cNvSpPr>
          <p:nvPr/>
        </p:nvSpPr>
        <p:spPr bwMode="auto">
          <a:xfrm>
            <a:off x="11375670" y="1502768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2" name="Rectangle 25"/>
          <p:cNvSpPr>
            <a:spLocks noChangeArrowheads="1"/>
          </p:cNvSpPr>
          <p:nvPr/>
        </p:nvSpPr>
        <p:spPr bwMode="auto">
          <a:xfrm>
            <a:off x="11376586" y="3767322"/>
            <a:ext cx="812363" cy="754751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29"/>
          <p:cNvSpPr>
            <a:spLocks noChangeArrowheads="1"/>
          </p:cNvSpPr>
          <p:nvPr/>
        </p:nvSpPr>
        <p:spPr bwMode="auto">
          <a:xfrm>
            <a:off x="11375670" y="748019"/>
            <a:ext cx="812363" cy="754751"/>
          </a:xfrm>
          <a:prstGeom prst="rect">
            <a:avLst/>
          </a:prstGeom>
          <a:solidFill>
            <a:srgbClr val="9ED44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2"/>
          <p:cNvSpPr>
            <a:spLocks noEditPoints="1"/>
          </p:cNvSpPr>
          <p:nvPr/>
        </p:nvSpPr>
        <p:spPr bwMode="auto">
          <a:xfrm>
            <a:off x="11600809" y="2514255"/>
            <a:ext cx="362085" cy="271895"/>
          </a:xfrm>
          <a:custGeom>
            <a:avLst/>
            <a:gdLst>
              <a:gd name="T0" fmla="*/ 787 w 859"/>
              <a:gd name="T1" fmla="*/ 107 h 644"/>
              <a:gd name="T2" fmla="*/ 787 w 859"/>
              <a:gd name="T3" fmla="*/ 573 h 644"/>
              <a:gd name="T4" fmla="*/ 537 w 859"/>
              <a:gd name="T5" fmla="*/ 573 h 644"/>
              <a:gd name="T6" fmla="*/ 465 w 859"/>
              <a:gd name="T7" fmla="*/ 644 h 644"/>
              <a:gd name="T8" fmla="*/ 859 w 859"/>
              <a:gd name="T9" fmla="*/ 644 h 644"/>
              <a:gd name="T10" fmla="*/ 859 w 859"/>
              <a:gd name="T11" fmla="*/ 107 h 644"/>
              <a:gd name="T12" fmla="*/ 787 w 859"/>
              <a:gd name="T13" fmla="*/ 107 h 644"/>
              <a:gd name="T14" fmla="*/ 476 w 859"/>
              <a:gd name="T15" fmla="*/ 476 h 644"/>
              <a:gd name="T16" fmla="*/ 383 w 859"/>
              <a:gd name="T17" fmla="*/ 476 h 644"/>
              <a:gd name="T18" fmla="*/ 373 w 859"/>
              <a:gd name="T19" fmla="*/ 465 h 644"/>
              <a:gd name="T20" fmla="*/ 179 w 859"/>
              <a:gd name="T21" fmla="*/ 465 h 644"/>
              <a:gd name="T22" fmla="*/ 179 w 859"/>
              <a:gd name="T23" fmla="*/ 71 h 644"/>
              <a:gd name="T24" fmla="*/ 344 w 859"/>
              <a:gd name="T25" fmla="*/ 71 h 644"/>
              <a:gd name="T26" fmla="*/ 393 w 859"/>
              <a:gd name="T27" fmla="*/ 96 h 644"/>
              <a:gd name="T28" fmla="*/ 393 w 859"/>
              <a:gd name="T29" fmla="*/ 358 h 644"/>
              <a:gd name="T30" fmla="*/ 465 w 859"/>
              <a:gd name="T31" fmla="*/ 358 h 644"/>
              <a:gd name="T32" fmla="*/ 465 w 859"/>
              <a:gd name="T33" fmla="*/ 96 h 644"/>
              <a:gd name="T34" fmla="*/ 515 w 859"/>
              <a:gd name="T35" fmla="*/ 71 h 644"/>
              <a:gd name="T36" fmla="*/ 680 w 859"/>
              <a:gd name="T37" fmla="*/ 71 h 644"/>
              <a:gd name="T38" fmla="*/ 680 w 859"/>
              <a:gd name="T39" fmla="*/ 465 h 644"/>
              <a:gd name="T40" fmla="*/ 486 w 859"/>
              <a:gd name="T41" fmla="*/ 465 h 644"/>
              <a:gd name="T42" fmla="*/ 476 w 859"/>
              <a:gd name="T43" fmla="*/ 476 h 644"/>
              <a:gd name="T44" fmla="*/ 752 w 859"/>
              <a:gd name="T45" fmla="*/ 537 h 644"/>
              <a:gd name="T46" fmla="*/ 752 w 859"/>
              <a:gd name="T47" fmla="*/ 0 h 644"/>
              <a:gd name="T48" fmla="*/ 486 w 859"/>
              <a:gd name="T49" fmla="*/ 0 h 644"/>
              <a:gd name="T50" fmla="*/ 476 w 859"/>
              <a:gd name="T51" fmla="*/ 10 h 644"/>
              <a:gd name="T52" fmla="*/ 383 w 859"/>
              <a:gd name="T53" fmla="*/ 10 h 644"/>
              <a:gd name="T54" fmla="*/ 373 w 859"/>
              <a:gd name="T55" fmla="*/ 0 h 644"/>
              <a:gd name="T56" fmla="*/ 107 w 859"/>
              <a:gd name="T57" fmla="*/ 0 h 644"/>
              <a:gd name="T58" fmla="*/ 107 w 859"/>
              <a:gd name="T59" fmla="*/ 537 h 644"/>
              <a:gd name="T60" fmla="*/ 344 w 859"/>
              <a:gd name="T61" fmla="*/ 537 h 644"/>
              <a:gd name="T62" fmla="*/ 429 w 859"/>
              <a:gd name="T63" fmla="*/ 566 h 644"/>
              <a:gd name="T64" fmla="*/ 515 w 859"/>
              <a:gd name="T65" fmla="*/ 537 h 644"/>
              <a:gd name="T66" fmla="*/ 752 w 859"/>
              <a:gd name="T67" fmla="*/ 537 h 644"/>
              <a:gd name="T68" fmla="*/ 71 w 859"/>
              <a:gd name="T69" fmla="*/ 573 h 644"/>
              <a:gd name="T70" fmla="*/ 71 w 859"/>
              <a:gd name="T71" fmla="*/ 107 h 644"/>
              <a:gd name="T72" fmla="*/ 0 w 859"/>
              <a:gd name="T73" fmla="*/ 107 h 644"/>
              <a:gd name="T74" fmla="*/ 0 w 859"/>
              <a:gd name="T75" fmla="*/ 644 h 644"/>
              <a:gd name="T76" fmla="*/ 394 w 859"/>
              <a:gd name="T77" fmla="*/ 644 h 644"/>
              <a:gd name="T78" fmla="*/ 322 w 859"/>
              <a:gd name="T79" fmla="*/ 573 h 644"/>
              <a:gd name="T80" fmla="*/ 71 w 859"/>
              <a:gd name="T81" fmla="*/ 573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9" h="644">
                <a:moveTo>
                  <a:pt x="787" y="107"/>
                </a:moveTo>
                <a:lnTo>
                  <a:pt x="787" y="573"/>
                </a:lnTo>
                <a:lnTo>
                  <a:pt x="537" y="573"/>
                </a:lnTo>
                <a:lnTo>
                  <a:pt x="465" y="644"/>
                </a:lnTo>
                <a:lnTo>
                  <a:pt x="859" y="644"/>
                </a:lnTo>
                <a:lnTo>
                  <a:pt x="859" y="107"/>
                </a:lnTo>
                <a:lnTo>
                  <a:pt x="787" y="107"/>
                </a:lnTo>
                <a:close/>
                <a:moveTo>
                  <a:pt x="476" y="476"/>
                </a:moveTo>
                <a:cubicBezTo>
                  <a:pt x="450" y="501"/>
                  <a:pt x="409" y="501"/>
                  <a:pt x="383" y="476"/>
                </a:cubicBezTo>
                <a:lnTo>
                  <a:pt x="373" y="465"/>
                </a:lnTo>
                <a:lnTo>
                  <a:pt x="179" y="465"/>
                </a:lnTo>
                <a:lnTo>
                  <a:pt x="179" y="71"/>
                </a:lnTo>
                <a:lnTo>
                  <a:pt x="344" y="71"/>
                </a:lnTo>
                <a:cubicBezTo>
                  <a:pt x="359" y="71"/>
                  <a:pt x="393" y="91"/>
                  <a:pt x="393" y="96"/>
                </a:cubicBezTo>
                <a:lnTo>
                  <a:pt x="393" y="358"/>
                </a:lnTo>
                <a:lnTo>
                  <a:pt x="465" y="358"/>
                </a:lnTo>
                <a:lnTo>
                  <a:pt x="465" y="96"/>
                </a:lnTo>
                <a:cubicBezTo>
                  <a:pt x="465" y="91"/>
                  <a:pt x="500" y="71"/>
                  <a:pt x="515" y="71"/>
                </a:cubicBezTo>
                <a:lnTo>
                  <a:pt x="680" y="71"/>
                </a:lnTo>
                <a:lnTo>
                  <a:pt x="680" y="465"/>
                </a:lnTo>
                <a:lnTo>
                  <a:pt x="486" y="465"/>
                </a:lnTo>
                <a:lnTo>
                  <a:pt x="476" y="476"/>
                </a:lnTo>
                <a:close/>
                <a:moveTo>
                  <a:pt x="752" y="537"/>
                </a:moveTo>
                <a:lnTo>
                  <a:pt x="752" y="0"/>
                </a:lnTo>
                <a:lnTo>
                  <a:pt x="486" y="0"/>
                </a:lnTo>
                <a:lnTo>
                  <a:pt x="476" y="10"/>
                </a:lnTo>
                <a:cubicBezTo>
                  <a:pt x="450" y="36"/>
                  <a:pt x="409" y="36"/>
                  <a:pt x="383" y="10"/>
                </a:cubicBezTo>
                <a:lnTo>
                  <a:pt x="373" y="0"/>
                </a:lnTo>
                <a:lnTo>
                  <a:pt x="107" y="0"/>
                </a:lnTo>
                <a:lnTo>
                  <a:pt x="107" y="537"/>
                </a:lnTo>
                <a:lnTo>
                  <a:pt x="344" y="537"/>
                </a:lnTo>
                <a:cubicBezTo>
                  <a:pt x="369" y="573"/>
                  <a:pt x="399" y="566"/>
                  <a:pt x="429" y="566"/>
                </a:cubicBezTo>
                <a:cubicBezTo>
                  <a:pt x="460" y="566"/>
                  <a:pt x="490" y="573"/>
                  <a:pt x="515" y="537"/>
                </a:cubicBezTo>
                <a:lnTo>
                  <a:pt x="752" y="537"/>
                </a:lnTo>
                <a:close/>
                <a:moveTo>
                  <a:pt x="71" y="573"/>
                </a:moveTo>
                <a:lnTo>
                  <a:pt x="71" y="107"/>
                </a:lnTo>
                <a:lnTo>
                  <a:pt x="0" y="107"/>
                </a:lnTo>
                <a:lnTo>
                  <a:pt x="0" y="644"/>
                </a:lnTo>
                <a:lnTo>
                  <a:pt x="394" y="644"/>
                </a:lnTo>
                <a:lnTo>
                  <a:pt x="322" y="573"/>
                </a:lnTo>
                <a:lnTo>
                  <a:pt x="71" y="5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0"/>
          <p:cNvSpPr>
            <a:spLocks noEditPoints="1"/>
          </p:cNvSpPr>
          <p:nvPr/>
        </p:nvSpPr>
        <p:spPr bwMode="auto">
          <a:xfrm>
            <a:off x="11601728" y="1744503"/>
            <a:ext cx="360248" cy="301287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8" name="Freeform 41"/>
          <p:cNvSpPr>
            <a:spLocks/>
          </p:cNvSpPr>
          <p:nvPr/>
        </p:nvSpPr>
        <p:spPr bwMode="auto">
          <a:xfrm>
            <a:off x="11600809" y="4756459"/>
            <a:ext cx="362085" cy="315984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69" name="Группа 68"/>
          <p:cNvGrpSpPr/>
          <p:nvPr/>
        </p:nvGrpSpPr>
        <p:grpSpPr>
          <a:xfrm>
            <a:off x="11614594" y="200960"/>
            <a:ext cx="334516" cy="361915"/>
            <a:chOff x="477468" y="2705515"/>
            <a:chExt cx="409903" cy="443477"/>
          </a:xfrm>
        </p:grpSpPr>
        <p:sp>
          <p:nvSpPr>
            <p:cNvPr id="70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1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72" name="Freeform 44"/>
          <p:cNvSpPr>
            <a:spLocks noEditPoints="1"/>
          </p:cNvSpPr>
          <p:nvPr/>
        </p:nvSpPr>
        <p:spPr bwMode="auto">
          <a:xfrm>
            <a:off x="11606322" y="5464056"/>
            <a:ext cx="351059" cy="380284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3" name="Freeform 45"/>
          <p:cNvSpPr>
            <a:spLocks noEditPoints="1"/>
          </p:cNvSpPr>
          <p:nvPr/>
        </p:nvSpPr>
        <p:spPr bwMode="auto">
          <a:xfrm>
            <a:off x="11601728" y="966788"/>
            <a:ext cx="360248" cy="347216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89" name="Freeform 46"/>
          <p:cNvSpPr>
            <a:spLocks noEditPoints="1"/>
          </p:cNvSpPr>
          <p:nvPr/>
        </p:nvSpPr>
        <p:spPr bwMode="auto">
          <a:xfrm>
            <a:off x="11655949" y="3977824"/>
            <a:ext cx="251807" cy="363751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5" name="Freeform 52"/>
          <p:cNvSpPr>
            <a:spLocks noEditPoints="1"/>
          </p:cNvSpPr>
          <p:nvPr/>
        </p:nvSpPr>
        <p:spPr bwMode="auto">
          <a:xfrm>
            <a:off x="11605404" y="3223075"/>
            <a:ext cx="352896" cy="36375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Freeform 53"/>
          <p:cNvSpPr>
            <a:spLocks noEditPoints="1"/>
          </p:cNvSpPr>
          <p:nvPr/>
        </p:nvSpPr>
        <p:spPr bwMode="auto">
          <a:xfrm>
            <a:off x="11594376" y="6260448"/>
            <a:ext cx="374952" cy="327005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115" name="AutoShape 4"/>
          <p:cNvSpPr>
            <a:spLocks noChangeAspect="1" noChangeArrowheads="1" noTextEdit="1"/>
          </p:cNvSpPr>
          <p:nvPr/>
        </p:nvSpPr>
        <p:spPr bwMode="auto">
          <a:xfrm>
            <a:off x="5791919" y="1817418"/>
            <a:ext cx="918665" cy="317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3250" y="6775913"/>
            <a:ext cx="12192000" cy="97559"/>
          </a:xfrm>
          <a:prstGeom prst="rect">
            <a:avLst/>
          </a:prstGeom>
        </p:spPr>
      </p:pic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2689296" y="98495"/>
            <a:ext cx="483331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>
                <a:solidFill>
                  <a:srgbClr val="002060"/>
                </a:solidFill>
              </a:rPr>
              <a:t>КОМПОНЕНТЫ УМК «Роза ветров»</a:t>
            </a:r>
          </a:p>
        </p:txBody>
      </p:sp>
      <p:grpSp>
        <p:nvGrpSpPr>
          <p:cNvPr id="38" name="Группа 37"/>
          <p:cNvGrpSpPr/>
          <p:nvPr/>
        </p:nvGrpSpPr>
        <p:grpSpPr>
          <a:xfrm>
            <a:off x="240696" y="194745"/>
            <a:ext cx="1350169" cy="452107"/>
            <a:chOff x="254665" y="195486"/>
            <a:chExt cx="951720" cy="329081"/>
          </a:xfrm>
        </p:grpSpPr>
        <p:sp>
          <p:nvSpPr>
            <p:cNvPr id="39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86" name="object 31"/>
          <p:cNvGrpSpPr/>
          <p:nvPr/>
        </p:nvGrpSpPr>
        <p:grpSpPr>
          <a:xfrm>
            <a:off x="7431986" y="1177204"/>
            <a:ext cx="1525521" cy="2056984"/>
            <a:chOff x="2013274" y="2737104"/>
            <a:chExt cx="771525" cy="978535"/>
          </a:xfrm>
        </p:grpSpPr>
        <p:sp>
          <p:nvSpPr>
            <p:cNvPr id="87" name="object 32"/>
            <p:cNvSpPr/>
            <p:nvPr/>
          </p:nvSpPr>
          <p:spPr>
            <a:xfrm>
              <a:off x="2013274" y="2737104"/>
              <a:ext cx="771038" cy="978408"/>
            </a:xfrm>
            <a:prstGeom prst="rect">
              <a:avLst/>
            </a:prstGeom>
            <a:blipFill>
              <a:blip r:embed="rId11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8" name="object 33"/>
            <p:cNvSpPr/>
            <p:nvPr/>
          </p:nvSpPr>
          <p:spPr>
            <a:xfrm>
              <a:off x="2020823" y="2744724"/>
              <a:ext cx="691895" cy="899159"/>
            </a:xfrm>
            <a:prstGeom prst="rect">
              <a:avLst/>
            </a:prstGeom>
            <a:blipFill>
              <a:blip r:embed="rId1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05" name="object 47"/>
          <p:cNvGrpSpPr/>
          <p:nvPr/>
        </p:nvGrpSpPr>
        <p:grpSpPr>
          <a:xfrm>
            <a:off x="7536766" y="3674534"/>
            <a:ext cx="1645211" cy="2138129"/>
            <a:chOff x="2013274" y="3870987"/>
            <a:chExt cx="771525" cy="980440"/>
          </a:xfrm>
        </p:grpSpPr>
        <p:sp>
          <p:nvSpPr>
            <p:cNvPr id="106" name="object 48"/>
            <p:cNvSpPr/>
            <p:nvPr/>
          </p:nvSpPr>
          <p:spPr>
            <a:xfrm>
              <a:off x="2013274" y="3870987"/>
              <a:ext cx="771038" cy="979890"/>
            </a:xfrm>
            <a:prstGeom prst="rect">
              <a:avLst/>
            </a:prstGeom>
            <a:blipFill>
              <a:blip r:embed="rId1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7" name="object 49"/>
            <p:cNvSpPr/>
            <p:nvPr/>
          </p:nvSpPr>
          <p:spPr>
            <a:xfrm>
              <a:off x="2020823" y="3878580"/>
              <a:ext cx="691895" cy="900684"/>
            </a:xfrm>
            <a:prstGeom prst="rect">
              <a:avLst/>
            </a:prstGeom>
            <a:blipFill>
              <a:blip r:embed="rId1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22" name="object 121"/>
          <p:cNvGrpSpPr/>
          <p:nvPr/>
        </p:nvGrpSpPr>
        <p:grpSpPr>
          <a:xfrm>
            <a:off x="8415374" y="1068249"/>
            <a:ext cx="1659768" cy="2080716"/>
            <a:chOff x="7245095" y="2755392"/>
            <a:chExt cx="828040" cy="1042669"/>
          </a:xfrm>
        </p:grpSpPr>
        <p:sp>
          <p:nvSpPr>
            <p:cNvPr id="123" name="object 122"/>
            <p:cNvSpPr/>
            <p:nvPr/>
          </p:nvSpPr>
          <p:spPr>
            <a:xfrm>
              <a:off x="7245095" y="2755392"/>
              <a:ext cx="827531" cy="1042416"/>
            </a:xfrm>
            <a:prstGeom prst="rect">
              <a:avLst/>
            </a:prstGeom>
            <a:blipFill>
              <a:blip r:embed="rId1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4" name="object 123"/>
            <p:cNvSpPr/>
            <p:nvPr/>
          </p:nvSpPr>
          <p:spPr>
            <a:xfrm>
              <a:off x="7271003" y="2781300"/>
              <a:ext cx="720851" cy="935736"/>
            </a:xfrm>
            <a:prstGeom prst="rect">
              <a:avLst/>
            </a:prstGeom>
            <a:blipFill>
              <a:blip r:embed="rId1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44" name="object 59"/>
          <p:cNvGrpSpPr/>
          <p:nvPr/>
        </p:nvGrpSpPr>
        <p:grpSpPr>
          <a:xfrm>
            <a:off x="8722129" y="3841462"/>
            <a:ext cx="1603158" cy="2138118"/>
            <a:chOff x="7470718" y="3870987"/>
            <a:chExt cx="771525" cy="980440"/>
          </a:xfrm>
        </p:grpSpPr>
        <p:sp>
          <p:nvSpPr>
            <p:cNvPr id="145" name="object 60"/>
            <p:cNvSpPr/>
            <p:nvPr/>
          </p:nvSpPr>
          <p:spPr>
            <a:xfrm>
              <a:off x="7470718" y="3870987"/>
              <a:ext cx="771038" cy="979890"/>
            </a:xfrm>
            <a:prstGeom prst="rect">
              <a:avLst/>
            </a:prstGeom>
            <a:blipFill>
              <a:blip r:embed="rId1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6" name="object 61"/>
            <p:cNvSpPr/>
            <p:nvPr/>
          </p:nvSpPr>
          <p:spPr>
            <a:xfrm>
              <a:off x="7478268" y="3878580"/>
              <a:ext cx="691896" cy="900684"/>
            </a:xfrm>
            <a:prstGeom prst="rect">
              <a:avLst/>
            </a:prstGeom>
            <a:blipFill>
              <a:blip r:embed="rId1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" name="Прямоугольник 2"/>
          <p:cNvSpPr/>
          <p:nvPr/>
        </p:nvSpPr>
        <p:spPr>
          <a:xfrm>
            <a:off x="7404268" y="686912"/>
            <a:ext cx="324800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77165" marR="723265">
              <a:lnSpc>
                <a:spcPct val="100000"/>
              </a:lnSpc>
              <a:spcBef>
                <a:spcPts val="710"/>
              </a:spcBef>
            </a:pPr>
            <a:r>
              <a:rPr lang="ru-RU" sz="1400" b="1" dirty="0">
                <a:solidFill>
                  <a:srgbClr val="171717"/>
                </a:solidFill>
                <a:latin typeface="Carlito"/>
                <a:cs typeface="Carlito"/>
              </a:rPr>
              <a:t>Ра</a:t>
            </a:r>
            <a:r>
              <a:rPr lang="ru-RU" sz="1400" b="1" spc="-5" dirty="0">
                <a:solidFill>
                  <a:srgbClr val="171717"/>
                </a:solidFill>
                <a:latin typeface="Carlito"/>
                <a:cs typeface="Carlito"/>
              </a:rPr>
              <a:t>бо</a:t>
            </a:r>
            <a:r>
              <a:rPr lang="ru-RU" sz="1400" b="1" dirty="0">
                <a:solidFill>
                  <a:srgbClr val="171717"/>
                </a:solidFill>
                <a:latin typeface="Carlito"/>
                <a:cs typeface="Carlito"/>
              </a:rPr>
              <a:t>чие  </a:t>
            </a:r>
            <a:r>
              <a:rPr lang="ru-RU" sz="1400" b="1" spc="-5" dirty="0">
                <a:solidFill>
                  <a:srgbClr val="171717"/>
                </a:solidFill>
                <a:latin typeface="Carlito"/>
                <a:cs typeface="Carlito"/>
              </a:rPr>
              <a:t>тетради 5-9 </a:t>
            </a:r>
            <a:r>
              <a:rPr lang="ru-RU" sz="1400" b="1" spc="-5" dirty="0" err="1">
                <a:solidFill>
                  <a:srgbClr val="171717"/>
                </a:solidFill>
                <a:latin typeface="Carlito"/>
                <a:cs typeface="Carlito"/>
              </a:rPr>
              <a:t>кл</a:t>
            </a:r>
            <a:r>
              <a:rPr lang="ru-RU" sz="1400" b="1" spc="-5" dirty="0">
                <a:solidFill>
                  <a:srgbClr val="171717"/>
                </a:solidFill>
                <a:latin typeface="Carlito"/>
                <a:cs typeface="Carlito"/>
              </a:rPr>
              <a:t> </a:t>
            </a:r>
            <a:endParaRPr lang="ru-RU" sz="1400" b="1" dirty="0">
              <a:latin typeface="Carlito"/>
              <a:cs typeface="Carlito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6590370" y="3249745"/>
            <a:ext cx="560163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165" marR="284480">
              <a:lnSpc>
                <a:spcPct val="100000"/>
              </a:lnSpc>
              <a:spcBef>
                <a:spcPts val="635"/>
              </a:spcBef>
            </a:pPr>
            <a:r>
              <a:rPr lang="ru-RU" sz="1400" b="1" spc="-10" dirty="0">
                <a:solidFill>
                  <a:srgbClr val="171717"/>
                </a:solidFill>
                <a:latin typeface="Carlito"/>
                <a:cs typeface="Carlito"/>
              </a:rPr>
              <a:t>Контрольные</a:t>
            </a:r>
            <a:r>
              <a:rPr lang="ru-RU" sz="1400" b="1" spc="-75" dirty="0">
                <a:solidFill>
                  <a:srgbClr val="171717"/>
                </a:solidFill>
                <a:latin typeface="Carlito"/>
                <a:cs typeface="Carlito"/>
              </a:rPr>
              <a:t> </a:t>
            </a:r>
            <a:r>
              <a:rPr lang="ru-RU" sz="1400" b="1" dirty="0">
                <a:solidFill>
                  <a:srgbClr val="171717"/>
                </a:solidFill>
                <a:latin typeface="Carlito"/>
                <a:cs typeface="Carlito"/>
              </a:rPr>
              <a:t>и  </a:t>
            </a:r>
            <a:r>
              <a:rPr lang="ru-RU" sz="1400" b="1" spc="-5" dirty="0">
                <a:solidFill>
                  <a:srgbClr val="171717"/>
                </a:solidFill>
                <a:latin typeface="Carlito"/>
                <a:cs typeface="Carlito"/>
              </a:rPr>
              <a:t>проверочные  работы 5-9 </a:t>
            </a:r>
            <a:r>
              <a:rPr lang="ru-RU" sz="1400" b="1" spc="-5" dirty="0" err="1">
                <a:solidFill>
                  <a:srgbClr val="171717"/>
                </a:solidFill>
                <a:latin typeface="Carlito"/>
                <a:cs typeface="Carlito"/>
              </a:rPr>
              <a:t>кл</a:t>
            </a:r>
            <a:r>
              <a:rPr lang="ru-RU" sz="1400" b="1" spc="-5" dirty="0">
                <a:solidFill>
                  <a:srgbClr val="171717"/>
                </a:solidFill>
                <a:latin typeface="Carlito"/>
                <a:cs typeface="Carlito"/>
              </a:rPr>
              <a:t>.</a:t>
            </a:r>
            <a:endParaRPr lang="ru-RU" sz="1400" b="1" dirty="0">
              <a:latin typeface="Carlito"/>
              <a:cs typeface="Carlito"/>
            </a:endParaRPr>
          </a:p>
        </p:txBody>
      </p:sp>
      <p:sp>
        <p:nvSpPr>
          <p:cNvPr id="205" name="object 62"/>
          <p:cNvSpPr txBox="1"/>
          <p:nvPr/>
        </p:nvSpPr>
        <p:spPr>
          <a:xfrm>
            <a:off x="896696" y="4369789"/>
            <a:ext cx="4387877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spc="-10" dirty="0">
                <a:solidFill>
                  <a:srgbClr val="171717"/>
                </a:solidFill>
                <a:latin typeface="Carlito"/>
                <a:cs typeface="Carlito"/>
              </a:rPr>
              <a:t>Методические</a:t>
            </a:r>
            <a:r>
              <a:rPr lang="ru-RU" sz="1400" b="1" dirty="0">
                <a:latin typeface="Carlito"/>
                <a:cs typeface="Carlito"/>
              </a:rPr>
              <a:t> </a:t>
            </a:r>
            <a:r>
              <a:rPr lang="ru-RU" sz="1400" b="1" spc="-5" dirty="0">
                <a:solidFill>
                  <a:srgbClr val="171717"/>
                </a:solidFill>
                <a:latin typeface="Carlito"/>
                <a:cs typeface="Carlito"/>
              </a:rPr>
              <a:t>п</a:t>
            </a:r>
            <a:r>
              <a:rPr sz="1400" b="1" spc="-5" dirty="0">
                <a:solidFill>
                  <a:srgbClr val="171717"/>
                </a:solidFill>
                <a:latin typeface="Carlito"/>
                <a:cs typeface="Carlito"/>
              </a:rPr>
              <a:t>особия</a:t>
            </a:r>
            <a:r>
              <a:rPr lang="ru-RU" sz="1400" b="1" spc="-5" dirty="0">
                <a:solidFill>
                  <a:srgbClr val="171717"/>
                </a:solidFill>
                <a:latin typeface="Carlito"/>
                <a:cs typeface="Carlito"/>
              </a:rPr>
              <a:t> с рабочими программами</a:t>
            </a:r>
            <a:endParaRPr sz="1400" b="1" dirty="0">
              <a:latin typeface="Carlito"/>
              <a:cs typeface="Carlito"/>
            </a:endParaRPr>
          </a:p>
        </p:txBody>
      </p:sp>
      <p:sp>
        <p:nvSpPr>
          <p:cNvPr id="225" name="object 52"/>
          <p:cNvSpPr/>
          <p:nvPr/>
        </p:nvSpPr>
        <p:spPr>
          <a:xfrm>
            <a:off x="4601837" y="5021093"/>
            <a:ext cx="192024" cy="240582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6" name="object 53"/>
          <p:cNvSpPr/>
          <p:nvPr/>
        </p:nvSpPr>
        <p:spPr>
          <a:xfrm>
            <a:off x="4496680" y="4932303"/>
            <a:ext cx="414655" cy="421802"/>
          </a:xfrm>
          <a:custGeom>
            <a:avLst/>
            <a:gdLst/>
            <a:ahLst/>
            <a:cxnLst/>
            <a:rect l="l" t="t" r="r" b="b"/>
            <a:pathLst>
              <a:path w="414654" h="411479">
                <a:moveTo>
                  <a:pt x="227838" y="0"/>
                </a:moveTo>
                <a:lnTo>
                  <a:pt x="183769" y="0"/>
                </a:lnTo>
                <a:lnTo>
                  <a:pt x="166116" y="2920"/>
                </a:lnTo>
                <a:lnTo>
                  <a:pt x="126365" y="14604"/>
                </a:lnTo>
                <a:lnTo>
                  <a:pt x="89662" y="33654"/>
                </a:lnTo>
                <a:lnTo>
                  <a:pt x="60325" y="60070"/>
                </a:lnTo>
                <a:lnTo>
                  <a:pt x="33782" y="89280"/>
                </a:lnTo>
                <a:lnTo>
                  <a:pt x="25019" y="106933"/>
                </a:lnTo>
                <a:lnTo>
                  <a:pt x="14732" y="124459"/>
                </a:lnTo>
                <a:lnTo>
                  <a:pt x="8763" y="143509"/>
                </a:lnTo>
                <a:lnTo>
                  <a:pt x="4445" y="162559"/>
                </a:lnTo>
                <a:lnTo>
                  <a:pt x="0" y="183006"/>
                </a:lnTo>
                <a:lnTo>
                  <a:pt x="0" y="226948"/>
                </a:lnTo>
                <a:lnTo>
                  <a:pt x="4445" y="247522"/>
                </a:lnTo>
                <a:lnTo>
                  <a:pt x="8763" y="265048"/>
                </a:lnTo>
                <a:lnTo>
                  <a:pt x="14732" y="284098"/>
                </a:lnTo>
                <a:lnTo>
                  <a:pt x="25019" y="303148"/>
                </a:lnTo>
                <a:lnTo>
                  <a:pt x="33782" y="320674"/>
                </a:lnTo>
                <a:lnTo>
                  <a:pt x="46990" y="336803"/>
                </a:lnTo>
                <a:lnTo>
                  <a:pt x="60325" y="349973"/>
                </a:lnTo>
                <a:lnTo>
                  <a:pt x="74930" y="364616"/>
                </a:lnTo>
                <a:lnTo>
                  <a:pt x="89662" y="376339"/>
                </a:lnTo>
                <a:lnTo>
                  <a:pt x="107315" y="385127"/>
                </a:lnTo>
                <a:lnTo>
                  <a:pt x="126365" y="395376"/>
                </a:lnTo>
                <a:lnTo>
                  <a:pt x="145542" y="402691"/>
                </a:lnTo>
                <a:lnTo>
                  <a:pt x="166116" y="408546"/>
                </a:lnTo>
                <a:lnTo>
                  <a:pt x="183769" y="410019"/>
                </a:lnTo>
                <a:lnTo>
                  <a:pt x="207264" y="411479"/>
                </a:lnTo>
                <a:lnTo>
                  <a:pt x="248412" y="408546"/>
                </a:lnTo>
                <a:lnTo>
                  <a:pt x="267589" y="402691"/>
                </a:lnTo>
                <a:lnTo>
                  <a:pt x="288163" y="395376"/>
                </a:lnTo>
                <a:lnTo>
                  <a:pt x="304292" y="385127"/>
                </a:lnTo>
                <a:lnTo>
                  <a:pt x="310184" y="382193"/>
                </a:lnTo>
                <a:lnTo>
                  <a:pt x="188214" y="382193"/>
                </a:lnTo>
                <a:lnTo>
                  <a:pt x="170561" y="377799"/>
                </a:lnTo>
                <a:lnTo>
                  <a:pt x="154305" y="374865"/>
                </a:lnTo>
                <a:lnTo>
                  <a:pt x="136651" y="369011"/>
                </a:lnTo>
                <a:lnTo>
                  <a:pt x="122047" y="361695"/>
                </a:lnTo>
                <a:lnTo>
                  <a:pt x="107315" y="351447"/>
                </a:lnTo>
                <a:lnTo>
                  <a:pt x="94107" y="342658"/>
                </a:lnTo>
                <a:lnTo>
                  <a:pt x="58800" y="303148"/>
                </a:lnTo>
                <a:lnTo>
                  <a:pt x="35306" y="257682"/>
                </a:lnTo>
                <a:lnTo>
                  <a:pt x="27940" y="204977"/>
                </a:lnTo>
                <a:lnTo>
                  <a:pt x="29337" y="187451"/>
                </a:lnTo>
                <a:lnTo>
                  <a:pt x="32385" y="169925"/>
                </a:lnTo>
                <a:lnTo>
                  <a:pt x="35306" y="153796"/>
                </a:lnTo>
                <a:lnTo>
                  <a:pt x="42672" y="136143"/>
                </a:lnTo>
                <a:lnTo>
                  <a:pt x="51435" y="121538"/>
                </a:lnTo>
                <a:lnTo>
                  <a:pt x="58800" y="106933"/>
                </a:lnTo>
                <a:lnTo>
                  <a:pt x="107315" y="57149"/>
                </a:lnTo>
                <a:lnTo>
                  <a:pt x="154305" y="35178"/>
                </a:lnTo>
                <a:lnTo>
                  <a:pt x="207264" y="27812"/>
                </a:lnTo>
                <a:lnTo>
                  <a:pt x="311919" y="27812"/>
                </a:lnTo>
                <a:lnTo>
                  <a:pt x="304292" y="23367"/>
                </a:lnTo>
                <a:lnTo>
                  <a:pt x="288163" y="14604"/>
                </a:lnTo>
                <a:lnTo>
                  <a:pt x="267589" y="7365"/>
                </a:lnTo>
                <a:lnTo>
                  <a:pt x="248412" y="2920"/>
                </a:lnTo>
                <a:lnTo>
                  <a:pt x="227838" y="0"/>
                </a:lnTo>
                <a:close/>
              </a:path>
              <a:path w="414654" h="411479">
                <a:moveTo>
                  <a:pt x="311919" y="27812"/>
                </a:moveTo>
                <a:lnTo>
                  <a:pt x="207264" y="27812"/>
                </a:lnTo>
                <a:lnTo>
                  <a:pt x="223393" y="29336"/>
                </a:lnTo>
                <a:lnTo>
                  <a:pt x="242570" y="30733"/>
                </a:lnTo>
                <a:lnTo>
                  <a:pt x="260223" y="35178"/>
                </a:lnTo>
                <a:lnTo>
                  <a:pt x="274827" y="42417"/>
                </a:lnTo>
                <a:lnTo>
                  <a:pt x="291084" y="49783"/>
                </a:lnTo>
                <a:lnTo>
                  <a:pt x="304292" y="57149"/>
                </a:lnTo>
                <a:lnTo>
                  <a:pt x="320421" y="68833"/>
                </a:lnTo>
                <a:lnTo>
                  <a:pt x="330708" y="80517"/>
                </a:lnTo>
                <a:lnTo>
                  <a:pt x="343916" y="93725"/>
                </a:lnTo>
                <a:lnTo>
                  <a:pt x="370459" y="136143"/>
                </a:lnTo>
                <a:lnTo>
                  <a:pt x="379222" y="169925"/>
                </a:lnTo>
                <a:lnTo>
                  <a:pt x="383667" y="187451"/>
                </a:lnTo>
                <a:lnTo>
                  <a:pt x="383667" y="222630"/>
                </a:lnTo>
                <a:lnTo>
                  <a:pt x="379222" y="241553"/>
                </a:lnTo>
                <a:lnTo>
                  <a:pt x="376300" y="257682"/>
                </a:lnTo>
                <a:lnTo>
                  <a:pt x="354202" y="303148"/>
                </a:lnTo>
                <a:lnTo>
                  <a:pt x="330708" y="329476"/>
                </a:lnTo>
                <a:lnTo>
                  <a:pt x="320421" y="342658"/>
                </a:lnTo>
                <a:lnTo>
                  <a:pt x="304292" y="351447"/>
                </a:lnTo>
                <a:lnTo>
                  <a:pt x="291084" y="361695"/>
                </a:lnTo>
                <a:lnTo>
                  <a:pt x="274827" y="369011"/>
                </a:lnTo>
                <a:lnTo>
                  <a:pt x="260223" y="374865"/>
                </a:lnTo>
                <a:lnTo>
                  <a:pt x="242570" y="377799"/>
                </a:lnTo>
                <a:lnTo>
                  <a:pt x="223393" y="382193"/>
                </a:lnTo>
                <a:lnTo>
                  <a:pt x="310184" y="382193"/>
                </a:lnTo>
                <a:lnTo>
                  <a:pt x="321945" y="376339"/>
                </a:lnTo>
                <a:lnTo>
                  <a:pt x="338074" y="364616"/>
                </a:lnTo>
                <a:lnTo>
                  <a:pt x="354202" y="349973"/>
                </a:lnTo>
                <a:lnTo>
                  <a:pt x="367538" y="336803"/>
                </a:lnTo>
                <a:lnTo>
                  <a:pt x="377825" y="320674"/>
                </a:lnTo>
                <a:lnTo>
                  <a:pt x="389509" y="303148"/>
                </a:lnTo>
                <a:lnTo>
                  <a:pt x="404241" y="265048"/>
                </a:lnTo>
                <a:lnTo>
                  <a:pt x="410083" y="247522"/>
                </a:lnTo>
                <a:lnTo>
                  <a:pt x="411607" y="226948"/>
                </a:lnTo>
                <a:lnTo>
                  <a:pt x="414527" y="204977"/>
                </a:lnTo>
                <a:lnTo>
                  <a:pt x="411607" y="183006"/>
                </a:lnTo>
                <a:lnTo>
                  <a:pt x="410083" y="162559"/>
                </a:lnTo>
                <a:lnTo>
                  <a:pt x="404241" y="143509"/>
                </a:lnTo>
                <a:lnTo>
                  <a:pt x="389509" y="106933"/>
                </a:lnTo>
                <a:lnTo>
                  <a:pt x="367538" y="74675"/>
                </a:lnTo>
                <a:lnTo>
                  <a:pt x="321945" y="33654"/>
                </a:lnTo>
                <a:lnTo>
                  <a:pt x="311919" y="27812"/>
                </a:lnTo>
                <a:close/>
              </a:path>
            </a:pathLst>
          </a:custGeom>
          <a:solidFill>
            <a:srgbClr val="2E36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7" name="object 23"/>
          <p:cNvSpPr txBox="1"/>
          <p:nvPr/>
        </p:nvSpPr>
        <p:spPr>
          <a:xfrm>
            <a:off x="4522668" y="5464056"/>
            <a:ext cx="2129439" cy="1034257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050" dirty="0">
                <a:solidFill>
                  <a:srgbClr val="171717"/>
                </a:solidFill>
                <a:latin typeface="Carlito"/>
                <a:cs typeface="Carlito"/>
              </a:rPr>
              <a:t>в электронной </a:t>
            </a:r>
            <a:r>
              <a:rPr sz="1050" dirty="0" err="1">
                <a:solidFill>
                  <a:srgbClr val="171717"/>
                </a:solidFill>
                <a:latin typeface="Carlito"/>
                <a:cs typeface="Carlito"/>
              </a:rPr>
              <a:t>форме</a:t>
            </a:r>
            <a:r>
              <a:rPr sz="1050" dirty="0">
                <a:solidFill>
                  <a:srgbClr val="171717"/>
                </a:solidFill>
                <a:latin typeface="Carlito"/>
                <a:cs typeface="Carlito"/>
              </a:rPr>
              <a:t> </a:t>
            </a:r>
            <a:r>
              <a:rPr sz="1050" dirty="0" err="1">
                <a:solidFill>
                  <a:srgbClr val="171717"/>
                </a:solidFill>
                <a:latin typeface="Carlito"/>
                <a:cs typeface="Carlito"/>
              </a:rPr>
              <a:t>на</a:t>
            </a:r>
            <a:r>
              <a:rPr lang="ru-RU" sz="1050" dirty="0">
                <a:solidFill>
                  <a:srgbClr val="171717"/>
                </a:solidFill>
                <a:latin typeface="Carlito"/>
                <a:cs typeface="Carlito"/>
              </a:rPr>
              <a:t> </a:t>
            </a:r>
            <a:r>
              <a:rPr sz="1050" dirty="0">
                <a:solidFill>
                  <a:srgbClr val="171717"/>
                </a:solidFill>
                <a:latin typeface="Carlito"/>
                <a:cs typeface="Carlito"/>
              </a:rPr>
              <a:t>сайте</a:t>
            </a:r>
            <a:endParaRPr lang="ru-RU" sz="1050" dirty="0">
              <a:solidFill>
                <a:srgbClr val="171717"/>
              </a:solidFill>
              <a:latin typeface="Carlito"/>
              <a:cs typeface="Carlito"/>
            </a:endParaRPr>
          </a:p>
          <a:p>
            <a:pPr marL="12700">
              <a:spcBef>
                <a:spcPts val="105"/>
              </a:spcBef>
            </a:pPr>
            <a:endParaRPr lang="ru-RU" sz="1050" dirty="0">
              <a:solidFill>
                <a:srgbClr val="171717"/>
              </a:solidFill>
              <a:latin typeface="Carlito"/>
              <a:cs typeface="Carlito"/>
            </a:endParaRPr>
          </a:p>
          <a:p>
            <a:pPr marL="12700">
              <a:spcBef>
                <a:spcPts val="105"/>
              </a:spcBef>
            </a:pPr>
            <a:r>
              <a:rPr lang="ru-RU" sz="1050" dirty="0">
                <a:solidFill>
                  <a:srgbClr val="171717"/>
                </a:solidFill>
                <a:latin typeface="Carlito"/>
                <a:cs typeface="Carlito"/>
              </a:rPr>
              <a:t>для обновлённой линии</a:t>
            </a:r>
          </a:p>
          <a:p>
            <a:pPr marL="12700">
              <a:spcBef>
                <a:spcPts val="105"/>
              </a:spcBef>
            </a:pPr>
            <a:r>
              <a:rPr lang="ru-RU" sz="1050" dirty="0">
                <a:solidFill>
                  <a:srgbClr val="171717"/>
                </a:solidFill>
                <a:latin typeface="Carlito"/>
                <a:cs typeface="Carlito"/>
              </a:rPr>
              <a:t>УМК «Роза ветров» доступно для скачивания с </a:t>
            </a:r>
            <a:r>
              <a:rPr lang="ru-RU" sz="1050" dirty="0" err="1">
                <a:solidFill>
                  <a:srgbClr val="171717"/>
                </a:solidFill>
                <a:latin typeface="Carlito"/>
                <a:cs typeface="Carlito"/>
              </a:rPr>
              <a:t>матра</a:t>
            </a:r>
            <a:r>
              <a:rPr lang="ru-RU" sz="1050" dirty="0">
                <a:solidFill>
                  <a:srgbClr val="171717"/>
                </a:solidFill>
                <a:latin typeface="Carlito"/>
                <a:cs typeface="Carlito"/>
              </a:rPr>
              <a:t>  2021 г. </a:t>
            </a:r>
          </a:p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ru-RU" sz="1050" dirty="0">
                <a:solidFill>
                  <a:srgbClr val="171717"/>
                </a:solidFill>
                <a:latin typeface="Carlito"/>
                <a:cs typeface="Carlito"/>
              </a:rPr>
              <a:t> </a:t>
            </a:r>
            <a:r>
              <a:rPr sz="1050" spc="-114" dirty="0">
                <a:solidFill>
                  <a:srgbClr val="2C3493"/>
                </a:solidFill>
                <a:latin typeface="Carlito"/>
                <a:cs typeface="Carlito"/>
              </a:rPr>
              <a:t> </a:t>
            </a:r>
            <a:endParaRPr sz="1050" dirty="0">
              <a:latin typeface="Carlito"/>
              <a:cs typeface="Carlito"/>
            </a:endParaRPr>
          </a:p>
        </p:txBody>
      </p:sp>
      <p:sp>
        <p:nvSpPr>
          <p:cNvPr id="265" name="object 44"/>
          <p:cNvSpPr/>
          <p:nvPr/>
        </p:nvSpPr>
        <p:spPr>
          <a:xfrm>
            <a:off x="118279" y="1554494"/>
            <a:ext cx="980681" cy="649421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400"/>
          </a:p>
        </p:txBody>
      </p:sp>
      <p:sp>
        <p:nvSpPr>
          <p:cNvPr id="266" name="object 8"/>
          <p:cNvSpPr/>
          <p:nvPr/>
        </p:nvSpPr>
        <p:spPr>
          <a:xfrm>
            <a:off x="1551326" y="1283526"/>
            <a:ext cx="1091840" cy="1413330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40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0635" y="4677490"/>
            <a:ext cx="1349406" cy="1896002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6403" y="4646707"/>
            <a:ext cx="1387050" cy="1948894"/>
          </a:xfrm>
          <a:prstGeom prst="rect">
            <a:avLst/>
          </a:prstGeom>
        </p:spPr>
      </p:pic>
      <p:sp>
        <p:nvSpPr>
          <p:cNvPr id="268" name="object 32"/>
          <p:cNvSpPr/>
          <p:nvPr/>
        </p:nvSpPr>
        <p:spPr>
          <a:xfrm>
            <a:off x="2720961" y="1274387"/>
            <a:ext cx="1053298" cy="1422468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400"/>
          </a:p>
        </p:txBody>
      </p:sp>
      <p:sp>
        <p:nvSpPr>
          <p:cNvPr id="270" name="object 38"/>
          <p:cNvSpPr/>
          <p:nvPr/>
        </p:nvSpPr>
        <p:spPr>
          <a:xfrm>
            <a:off x="3874091" y="1265734"/>
            <a:ext cx="1037244" cy="1398647"/>
          </a:xfrm>
          <a:prstGeom prst="rect">
            <a:avLst/>
          </a:prstGeom>
          <a:blipFill>
            <a:blip r:embed="rId2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400"/>
          </a:p>
        </p:txBody>
      </p:sp>
      <p:sp>
        <p:nvSpPr>
          <p:cNvPr id="13" name="Прямоугольник 12"/>
          <p:cNvSpPr/>
          <p:nvPr/>
        </p:nvSpPr>
        <p:spPr>
          <a:xfrm>
            <a:off x="979767" y="640221"/>
            <a:ext cx="422173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latin typeface="Carlito"/>
              </a:rPr>
              <a:t>Атласы и контурные карты  «РОЗА ВЕТРОВ»</a:t>
            </a:r>
            <a:endParaRPr lang="ru-RU" sz="1400" dirty="0"/>
          </a:p>
        </p:txBody>
      </p:sp>
      <p:cxnSp>
        <p:nvCxnSpPr>
          <p:cNvPr id="272" name="Прямая соединительная линия 271"/>
          <p:cNvCxnSpPr/>
          <p:nvPr/>
        </p:nvCxnSpPr>
        <p:spPr>
          <a:xfrm>
            <a:off x="1669002" y="633520"/>
            <a:ext cx="9706667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3" name="Прямоугольник 272"/>
          <p:cNvSpPr/>
          <p:nvPr/>
        </p:nvSpPr>
        <p:spPr>
          <a:xfrm>
            <a:off x="713477" y="2739032"/>
            <a:ext cx="5048747" cy="1600438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Атласы прошли экспертизу в Институте Географии Российской Академии наук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Рекомендованы для подготовки к ВПР, ОГЭ, ЕГЭ и при  подготовке к предметным олимпиадам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Соответствуют ФГОС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Могут быть использованы со всем УМК по географии как базового, так и углубленного изучения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239554" y="5962285"/>
            <a:ext cx="384809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C00000"/>
                </a:solidFill>
              </a:rPr>
              <a:t>Рабочие тетради, контрольные и проверочные работы к обновлённой линии доступны в режиме </a:t>
            </a:r>
            <a:r>
              <a:rPr lang="ru-RU" sz="1200" b="1" dirty="0" err="1">
                <a:solidFill>
                  <a:srgbClr val="C00000"/>
                </a:solidFill>
              </a:rPr>
              <a:t>предзаказа</a:t>
            </a:r>
            <a:r>
              <a:rPr lang="ru-RU" sz="1200" b="1" dirty="0">
                <a:solidFill>
                  <a:srgbClr val="C00000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9137343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object 95"/>
          <p:cNvSpPr/>
          <p:nvPr/>
        </p:nvSpPr>
        <p:spPr>
          <a:xfrm>
            <a:off x="2717535" y="1720245"/>
            <a:ext cx="1884178" cy="2584653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27"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xmlns="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11375669" y="2257824"/>
            <a:ext cx="812363" cy="754751"/>
          </a:xfrm>
          <a:prstGeom prst="rect">
            <a:avLst/>
          </a:prstGeom>
          <a:solidFill>
            <a:srgbClr val="40D4E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3"/>
          <p:cNvSpPr>
            <a:spLocks noChangeArrowheads="1"/>
          </p:cNvSpPr>
          <p:nvPr/>
        </p:nvSpPr>
        <p:spPr bwMode="auto">
          <a:xfrm>
            <a:off x="11375669" y="5276823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4"/>
          <p:cNvSpPr>
            <a:spLocks noChangeArrowheads="1"/>
          </p:cNvSpPr>
          <p:nvPr/>
        </p:nvSpPr>
        <p:spPr bwMode="auto">
          <a:xfrm>
            <a:off x="11376586" y="4522072"/>
            <a:ext cx="812363" cy="754751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17"/>
          <p:cNvSpPr>
            <a:spLocks noChangeArrowheads="1"/>
          </p:cNvSpPr>
          <p:nvPr/>
        </p:nvSpPr>
        <p:spPr bwMode="auto">
          <a:xfrm>
            <a:off x="11375670" y="-4589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19"/>
          <p:cNvSpPr>
            <a:spLocks noChangeArrowheads="1"/>
          </p:cNvSpPr>
          <p:nvPr/>
        </p:nvSpPr>
        <p:spPr bwMode="auto">
          <a:xfrm>
            <a:off x="11376586" y="3012572"/>
            <a:ext cx="812363" cy="754751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1"/>
          <p:cNvSpPr>
            <a:spLocks noChangeArrowheads="1"/>
          </p:cNvSpPr>
          <p:nvPr/>
        </p:nvSpPr>
        <p:spPr bwMode="auto">
          <a:xfrm>
            <a:off x="11376586" y="6031572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2"/>
          <p:cNvSpPr>
            <a:spLocks noChangeArrowheads="1"/>
          </p:cNvSpPr>
          <p:nvPr/>
        </p:nvSpPr>
        <p:spPr bwMode="auto">
          <a:xfrm>
            <a:off x="11375670" y="1502768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2" name="Rectangle 25"/>
          <p:cNvSpPr>
            <a:spLocks noChangeArrowheads="1"/>
          </p:cNvSpPr>
          <p:nvPr/>
        </p:nvSpPr>
        <p:spPr bwMode="auto">
          <a:xfrm>
            <a:off x="11376586" y="3767322"/>
            <a:ext cx="812363" cy="754751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29"/>
          <p:cNvSpPr>
            <a:spLocks noChangeArrowheads="1"/>
          </p:cNvSpPr>
          <p:nvPr/>
        </p:nvSpPr>
        <p:spPr bwMode="auto">
          <a:xfrm>
            <a:off x="11375670" y="748019"/>
            <a:ext cx="812363" cy="754751"/>
          </a:xfrm>
          <a:prstGeom prst="rect">
            <a:avLst/>
          </a:prstGeom>
          <a:solidFill>
            <a:srgbClr val="9ED44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2"/>
          <p:cNvSpPr>
            <a:spLocks noEditPoints="1"/>
          </p:cNvSpPr>
          <p:nvPr/>
        </p:nvSpPr>
        <p:spPr bwMode="auto">
          <a:xfrm>
            <a:off x="11600809" y="2514255"/>
            <a:ext cx="362085" cy="271895"/>
          </a:xfrm>
          <a:custGeom>
            <a:avLst/>
            <a:gdLst>
              <a:gd name="T0" fmla="*/ 787 w 859"/>
              <a:gd name="T1" fmla="*/ 107 h 644"/>
              <a:gd name="T2" fmla="*/ 787 w 859"/>
              <a:gd name="T3" fmla="*/ 573 h 644"/>
              <a:gd name="T4" fmla="*/ 537 w 859"/>
              <a:gd name="T5" fmla="*/ 573 h 644"/>
              <a:gd name="T6" fmla="*/ 465 w 859"/>
              <a:gd name="T7" fmla="*/ 644 h 644"/>
              <a:gd name="T8" fmla="*/ 859 w 859"/>
              <a:gd name="T9" fmla="*/ 644 h 644"/>
              <a:gd name="T10" fmla="*/ 859 w 859"/>
              <a:gd name="T11" fmla="*/ 107 h 644"/>
              <a:gd name="T12" fmla="*/ 787 w 859"/>
              <a:gd name="T13" fmla="*/ 107 h 644"/>
              <a:gd name="T14" fmla="*/ 476 w 859"/>
              <a:gd name="T15" fmla="*/ 476 h 644"/>
              <a:gd name="T16" fmla="*/ 383 w 859"/>
              <a:gd name="T17" fmla="*/ 476 h 644"/>
              <a:gd name="T18" fmla="*/ 373 w 859"/>
              <a:gd name="T19" fmla="*/ 465 h 644"/>
              <a:gd name="T20" fmla="*/ 179 w 859"/>
              <a:gd name="T21" fmla="*/ 465 h 644"/>
              <a:gd name="T22" fmla="*/ 179 w 859"/>
              <a:gd name="T23" fmla="*/ 71 h 644"/>
              <a:gd name="T24" fmla="*/ 344 w 859"/>
              <a:gd name="T25" fmla="*/ 71 h 644"/>
              <a:gd name="T26" fmla="*/ 393 w 859"/>
              <a:gd name="T27" fmla="*/ 96 h 644"/>
              <a:gd name="T28" fmla="*/ 393 w 859"/>
              <a:gd name="T29" fmla="*/ 358 h 644"/>
              <a:gd name="T30" fmla="*/ 465 w 859"/>
              <a:gd name="T31" fmla="*/ 358 h 644"/>
              <a:gd name="T32" fmla="*/ 465 w 859"/>
              <a:gd name="T33" fmla="*/ 96 h 644"/>
              <a:gd name="T34" fmla="*/ 515 w 859"/>
              <a:gd name="T35" fmla="*/ 71 h 644"/>
              <a:gd name="T36" fmla="*/ 680 w 859"/>
              <a:gd name="T37" fmla="*/ 71 h 644"/>
              <a:gd name="T38" fmla="*/ 680 w 859"/>
              <a:gd name="T39" fmla="*/ 465 h 644"/>
              <a:gd name="T40" fmla="*/ 486 w 859"/>
              <a:gd name="T41" fmla="*/ 465 h 644"/>
              <a:gd name="T42" fmla="*/ 476 w 859"/>
              <a:gd name="T43" fmla="*/ 476 h 644"/>
              <a:gd name="T44" fmla="*/ 752 w 859"/>
              <a:gd name="T45" fmla="*/ 537 h 644"/>
              <a:gd name="T46" fmla="*/ 752 w 859"/>
              <a:gd name="T47" fmla="*/ 0 h 644"/>
              <a:gd name="T48" fmla="*/ 486 w 859"/>
              <a:gd name="T49" fmla="*/ 0 h 644"/>
              <a:gd name="T50" fmla="*/ 476 w 859"/>
              <a:gd name="T51" fmla="*/ 10 h 644"/>
              <a:gd name="T52" fmla="*/ 383 w 859"/>
              <a:gd name="T53" fmla="*/ 10 h 644"/>
              <a:gd name="T54" fmla="*/ 373 w 859"/>
              <a:gd name="T55" fmla="*/ 0 h 644"/>
              <a:gd name="T56" fmla="*/ 107 w 859"/>
              <a:gd name="T57" fmla="*/ 0 h 644"/>
              <a:gd name="T58" fmla="*/ 107 w 859"/>
              <a:gd name="T59" fmla="*/ 537 h 644"/>
              <a:gd name="T60" fmla="*/ 344 w 859"/>
              <a:gd name="T61" fmla="*/ 537 h 644"/>
              <a:gd name="T62" fmla="*/ 429 w 859"/>
              <a:gd name="T63" fmla="*/ 566 h 644"/>
              <a:gd name="T64" fmla="*/ 515 w 859"/>
              <a:gd name="T65" fmla="*/ 537 h 644"/>
              <a:gd name="T66" fmla="*/ 752 w 859"/>
              <a:gd name="T67" fmla="*/ 537 h 644"/>
              <a:gd name="T68" fmla="*/ 71 w 859"/>
              <a:gd name="T69" fmla="*/ 573 h 644"/>
              <a:gd name="T70" fmla="*/ 71 w 859"/>
              <a:gd name="T71" fmla="*/ 107 h 644"/>
              <a:gd name="T72" fmla="*/ 0 w 859"/>
              <a:gd name="T73" fmla="*/ 107 h 644"/>
              <a:gd name="T74" fmla="*/ 0 w 859"/>
              <a:gd name="T75" fmla="*/ 644 h 644"/>
              <a:gd name="T76" fmla="*/ 394 w 859"/>
              <a:gd name="T77" fmla="*/ 644 h 644"/>
              <a:gd name="T78" fmla="*/ 322 w 859"/>
              <a:gd name="T79" fmla="*/ 573 h 644"/>
              <a:gd name="T80" fmla="*/ 71 w 859"/>
              <a:gd name="T81" fmla="*/ 573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9" h="644">
                <a:moveTo>
                  <a:pt x="787" y="107"/>
                </a:moveTo>
                <a:lnTo>
                  <a:pt x="787" y="573"/>
                </a:lnTo>
                <a:lnTo>
                  <a:pt x="537" y="573"/>
                </a:lnTo>
                <a:lnTo>
                  <a:pt x="465" y="644"/>
                </a:lnTo>
                <a:lnTo>
                  <a:pt x="859" y="644"/>
                </a:lnTo>
                <a:lnTo>
                  <a:pt x="859" y="107"/>
                </a:lnTo>
                <a:lnTo>
                  <a:pt x="787" y="107"/>
                </a:lnTo>
                <a:close/>
                <a:moveTo>
                  <a:pt x="476" y="476"/>
                </a:moveTo>
                <a:cubicBezTo>
                  <a:pt x="450" y="501"/>
                  <a:pt x="409" y="501"/>
                  <a:pt x="383" y="476"/>
                </a:cubicBezTo>
                <a:lnTo>
                  <a:pt x="373" y="465"/>
                </a:lnTo>
                <a:lnTo>
                  <a:pt x="179" y="465"/>
                </a:lnTo>
                <a:lnTo>
                  <a:pt x="179" y="71"/>
                </a:lnTo>
                <a:lnTo>
                  <a:pt x="344" y="71"/>
                </a:lnTo>
                <a:cubicBezTo>
                  <a:pt x="359" y="71"/>
                  <a:pt x="393" y="91"/>
                  <a:pt x="393" y="96"/>
                </a:cubicBezTo>
                <a:lnTo>
                  <a:pt x="393" y="358"/>
                </a:lnTo>
                <a:lnTo>
                  <a:pt x="465" y="358"/>
                </a:lnTo>
                <a:lnTo>
                  <a:pt x="465" y="96"/>
                </a:lnTo>
                <a:cubicBezTo>
                  <a:pt x="465" y="91"/>
                  <a:pt x="500" y="71"/>
                  <a:pt x="515" y="71"/>
                </a:cubicBezTo>
                <a:lnTo>
                  <a:pt x="680" y="71"/>
                </a:lnTo>
                <a:lnTo>
                  <a:pt x="680" y="465"/>
                </a:lnTo>
                <a:lnTo>
                  <a:pt x="486" y="465"/>
                </a:lnTo>
                <a:lnTo>
                  <a:pt x="476" y="476"/>
                </a:lnTo>
                <a:close/>
                <a:moveTo>
                  <a:pt x="752" y="537"/>
                </a:moveTo>
                <a:lnTo>
                  <a:pt x="752" y="0"/>
                </a:lnTo>
                <a:lnTo>
                  <a:pt x="486" y="0"/>
                </a:lnTo>
                <a:lnTo>
                  <a:pt x="476" y="10"/>
                </a:lnTo>
                <a:cubicBezTo>
                  <a:pt x="450" y="36"/>
                  <a:pt x="409" y="36"/>
                  <a:pt x="383" y="10"/>
                </a:cubicBezTo>
                <a:lnTo>
                  <a:pt x="373" y="0"/>
                </a:lnTo>
                <a:lnTo>
                  <a:pt x="107" y="0"/>
                </a:lnTo>
                <a:lnTo>
                  <a:pt x="107" y="537"/>
                </a:lnTo>
                <a:lnTo>
                  <a:pt x="344" y="537"/>
                </a:lnTo>
                <a:cubicBezTo>
                  <a:pt x="369" y="573"/>
                  <a:pt x="399" y="566"/>
                  <a:pt x="429" y="566"/>
                </a:cubicBezTo>
                <a:cubicBezTo>
                  <a:pt x="460" y="566"/>
                  <a:pt x="490" y="573"/>
                  <a:pt x="515" y="537"/>
                </a:cubicBezTo>
                <a:lnTo>
                  <a:pt x="752" y="537"/>
                </a:lnTo>
                <a:close/>
                <a:moveTo>
                  <a:pt x="71" y="573"/>
                </a:moveTo>
                <a:lnTo>
                  <a:pt x="71" y="107"/>
                </a:lnTo>
                <a:lnTo>
                  <a:pt x="0" y="107"/>
                </a:lnTo>
                <a:lnTo>
                  <a:pt x="0" y="644"/>
                </a:lnTo>
                <a:lnTo>
                  <a:pt x="394" y="644"/>
                </a:lnTo>
                <a:lnTo>
                  <a:pt x="322" y="573"/>
                </a:lnTo>
                <a:lnTo>
                  <a:pt x="71" y="5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0"/>
          <p:cNvSpPr>
            <a:spLocks noEditPoints="1"/>
          </p:cNvSpPr>
          <p:nvPr/>
        </p:nvSpPr>
        <p:spPr bwMode="auto">
          <a:xfrm>
            <a:off x="11601728" y="1744503"/>
            <a:ext cx="360248" cy="301287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8" name="Freeform 41"/>
          <p:cNvSpPr>
            <a:spLocks/>
          </p:cNvSpPr>
          <p:nvPr/>
        </p:nvSpPr>
        <p:spPr bwMode="auto">
          <a:xfrm>
            <a:off x="11600809" y="4756459"/>
            <a:ext cx="362085" cy="315984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69" name="Группа 68"/>
          <p:cNvGrpSpPr/>
          <p:nvPr/>
        </p:nvGrpSpPr>
        <p:grpSpPr>
          <a:xfrm>
            <a:off x="11614594" y="200960"/>
            <a:ext cx="334516" cy="361915"/>
            <a:chOff x="477468" y="2705515"/>
            <a:chExt cx="409903" cy="443477"/>
          </a:xfrm>
        </p:grpSpPr>
        <p:sp>
          <p:nvSpPr>
            <p:cNvPr id="70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1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72" name="Freeform 44"/>
          <p:cNvSpPr>
            <a:spLocks noEditPoints="1"/>
          </p:cNvSpPr>
          <p:nvPr/>
        </p:nvSpPr>
        <p:spPr bwMode="auto">
          <a:xfrm>
            <a:off x="11606322" y="5464056"/>
            <a:ext cx="351059" cy="380284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3" name="Freeform 45"/>
          <p:cNvSpPr>
            <a:spLocks noEditPoints="1"/>
          </p:cNvSpPr>
          <p:nvPr/>
        </p:nvSpPr>
        <p:spPr bwMode="auto">
          <a:xfrm>
            <a:off x="11601728" y="966788"/>
            <a:ext cx="360248" cy="347216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89" name="Freeform 46"/>
          <p:cNvSpPr>
            <a:spLocks noEditPoints="1"/>
          </p:cNvSpPr>
          <p:nvPr/>
        </p:nvSpPr>
        <p:spPr bwMode="auto">
          <a:xfrm>
            <a:off x="11655949" y="3977824"/>
            <a:ext cx="251807" cy="363751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5" name="Freeform 52"/>
          <p:cNvSpPr>
            <a:spLocks noEditPoints="1"/>
          </p:cNvSpPr>
          <p:nvPr/>
        </p:nvSpPr>
        <p:spPr bwMode="auto">
          <a:xfrm>
            <a:off x="11605404" y="3223075"/>
            <a:ext cx="352896" cy="36375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Freeform 53"/>
          <p:cNvSpPr>
            <a:spLocks noEditPoints="1"/>
          </p:cNvSpPr>
          <p:nvPr/>
        </p:nvSpPr>
        <p:spPr bwMode="auto">
          <a:xfrm>
            <a:off x="11594376" y="6260448"/>
            <a:ext cx="374952" cy="327005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115" name="AutoShape 4"/>
          <p:cNvSpPr>
            <a:spLocks noChangeAspect="1" noChangeArrowheads="1" noTextEdit="1"/>
          </p:cNvSpPr>
          <p:nvPr/>
        </p:nvSpPr>
        <p:spPr bwMode="auto">
          <a:xfrm>
            <a:off x="5871461" y="1818713"/>
            <a:ext cx="918665" cy="317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5" name="object 87"/>
          <p:cNvSpPr/>
          <p:nvPr/>
        </p:nvSpPr>
        <p:spPr>
          <a:xfrm>
            <a:off x="485820" y="1690779"/>
            <a:ext cx="1884178" cy="2624262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" name="object 29"/>
          <p:cNvSpPr txBox="1"/>
          <p:nvPr/>
        </p:nvSpPr>
        <p:spPr>
          <a:xfrm>
            <a:off x="1462341" y="4476906"/>
            <a:ext cx="2510388" cy="170560"/>
          </a:xfrm>
          <a:prstGeom prst="rect">
            <a:avLst/>
          </a:prstGeom>
          <a:solidFill>
            <a:srgbClr val="2C3493"/>
          </a:solidFill>
        </p:spPr>
        <p:txBody>
          <a:bodyPr vert="horz" wrap="square" lIns="0" tIns="1270" rIns="0" bIns="0" rtlCol="0">
            <a:spAutoFit/>
          </a:bodyPr>
          <a:lstStyle/>
          <a:p>
            <a:pPr marL="255904">
              <a:spcBef>
                <a:spcPts val="5"/>
              </a:spcBef>
            </a:pPr>
            <a:r>
              <a:rPr sz="1100" b="1" spc="-5" dirty="0">
                <a:solidFill>
                  <a:srgbClr val="FFFFFF"/>
                </a:solidFill>
                <a:latin typeface="Carlito"/>
                <a:cs typeface="Carlito"/>
              </a:rPr>
              <a:t>ФП</a:t>
            </a:r>
            <a:r>
              <a:rPr sz="1100" b="1" spc="-15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1100" b="1" spc="-10" dirty="0">
                <a:solidFill>
                  <a:srgbClr val="FFFFFF"/>
                </a:solidFill>
                <a:latin typeface="Carlito"/>
                <a:cs typeface="Carlito"/>
              </a:rPr>
              <a:t>№</a:t>
            </a:r>
            <a:r>
              <a:rPr lang="ru-RU" sz="1100" b="1" spc="-10" dirty="0">
                <a:solidFill>
                  <a:srgbClr val="FFFFFF"/>
                </a:solidFill>
                <a:latin typeface="Carlito"/>
                <a:cs typeface="Carlito"/>
              </a:rPr>
              <a:t> 1.1.2.3.4.5.1- 1.1.2.3.4.5.5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151192" y="2039617"/>
            <a:ext cx="6119477" cy="258532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b="1" i="1" dirty="0"/>
              <a:t>        Ключевые преимущества учебников</a:t>
            </a:r>
          </a:p>
          <a:p>
            <a:endParaRPr lang="ru-R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классические теоретические предметные знания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методический аппарат базируется на </a:t>
            </a:r>
            <a:r>
              <a:rPr lang="ru-RU" dirty="0" err="1"/>
              <a:t>деятельностном</a:t>
            </a:r>
            <a:r>
              <a:rPr lang="ru-RU" dirty="0"/>
              <a:t> подходе в изучении географи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формирование  умений ставить проблемные вопросы, аргументировано отстаивать собственное мнение, </a:t>
            </a:r>
            <a:r>
              <a:rPr lang="ru-RU" sz="1600" dirty="0"/>
              <a:t>делать</a:t>
            </a:r>
            <a:r>
              <a:rPr lang="ru-RU" dirty="0"/>
              <a:t> выводы и открывать существующие законы географической науки, решая практические задачи.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2251398" y="65958"/>
            <a:ext cx="769648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b="1" dirty="0">
                <a:solidFill>
                  <a:srgbClr val="002060"/>
                </a:solidFill>
              </a:rPr>
              <a:t>УМК «КЛАССИЧЕСКАЯ ГЕОГРАФИЯ»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1219224" y="909840"/>
            <a:ext cx="1033000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Учебники прошли </a:t>
            </a:r>
            <a:r>
              <a:rPr lang="ru-RU" b="1" dirty="0"/>
              <a:t>рецензирование Комиссии Русского географического общества </a:t>
            </a:r>
            <a:r>
              <a:rPr lang="ru-RU" dirty="0"/>
              <a:t>по географическому и экологическому образованию под председательством академика Н. С. </a:t>
            </a:r>
            <a:r>
              <a:rPr lang="ru-RU" dirty="0" err="1"/>
              <a:t>Касимова</a:t>
            </a:r>
            <a:r>
              <a:rPr lang="ru-RU" dirty="0"/>
              <a:t>.</a:t>
            </a:r>
          </a:p>
        </p:txBody>
      </p:sp>
      <p:grpSp>
        <p:nvGrpSpPr>
          <p:cNvPr id="42" name="Группа 41"/>
          <p:cNvGrpSpPr/>
          <p:nvPr/>
        </p:nvGrpSpPr>
        <p:grpSpPr>
          <a:xfrm>
            <a:off x="88139" y="139564"/>
            <a:ext cx="1268960" cy="438775"/>
            <a:chOff x="254665" y="195486"/>
            <a:chExt cx="951720" cy="329081"/>
          </a:xfrm>
        </p:grpSpPr>
        <p:sp>
          <p:nvSpPr>
            <p:cNvPr id="45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7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1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0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82" name="Подзаголовок 3"/>
          <p:cNvSpPr txBox="1">
            <a:spLocks/>
          </p:cNvSpPr>
          <p:nvPr/>
        </p:nvSpPr>
        <p:spPr>
          <a:xfrm>
            <a:off x="471828" y="4911701"/>
            <a:ext cx="2132381" cy="1451081"/>
          </a:xfrm>
          <a:prstGeom prst="rect">
            <a:avLst/>
          </a:prstGeom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b="1" dirty="0">
                <a:latin typeface="Calibri" panose="020F0502020204030204" pitchFamily="34" charset="0"/>
                <a:cs typeface="Calibri" panose="020F0502020204030204" pitchFamily="34" charset="0"/>
              </a:rPr>
              <a:t>Состав УМК:</a:t>
            </a:r>
          </a:p>
          <a:p>
            <a:pPr marL="171450" lvl="0" indent="-1714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методические пособия            </a:t>
            </a:r>
          </a:p>
          <a:p>
            <a:pPr marL="180975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рабочая программа</a:t>
            </a:r>
          </a:p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ЭФУ</a:t>
            </a:r>
          </a:p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34868" y="804457"/>
            <a:ext cx="1000826" cy="755225"/>
          </a:xfrm>
          <a:prstGeom prst="rect">
            <a:avLst/>
          </a:prstGeom>
        </p:spPr>
      </p:pic>
      <p:sp>
        <p:nvSpPr>
          <p:cNvPr id="83" name="Подзаголовок 3"/>
          <p:cNvSpPr txBox="1">
            <a:spLocks/>
          </p:cNvSpPr>
          <p:nvPr/>
        </p:nvSpPr>
        <p:spPr>
          <a:xfrm>
            <a:off x="2469332" y="5128716"/>
            <a:ext cx="2132381" cy="1451081"/>
          </a:xfrm>
          <a:prstGeom prst="rect">
            <a:avLst/>
          </a:prstGeom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рабочие тетради</a:t>
            </a:r>
          </a:p>
          <a:p>
            <a:pPr marL="180975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атласы</a:t>
            </a:r>
          </a:p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контурные карты</a:t>
            </a:r>
          </a:p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1669002" y="748019"/>
            <a:ext cx="9706667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31697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3" name="Рисунок 8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56248" y="1055514"/>
            <a:ext cx="4818963" cy="1202788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05859" y="876129"/>
            <a:ext cx="1439151" cy="1886045"/>
          </a:xfrm>
          <a:prstGeom prst="rect">
            <a:avLst/>
          </a:prstGeom>
        </p:spPr>
      </p:pic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93" name="Слайд think-cell" r:id="rId7" imgW="359" imgH="360" progId="TCLayout.ActiveDocument.1">
                  <p:embed/>
                </p:oleObj>
              </mc:Choice>
              <mc:Fallback>
                <p:oleObj name="Слайд think-cell" r:id="rId7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xmlns="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11375669" y="2257824"/>
            <a:ext cx="812363" cy="754751"/>
          </a:xfrm>
          <a:prstGeom prst="rect">
            <a:avLst/>
          </a:prstGeom>
          <a:solidFill>
            <a:srgbClr val="40D4E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3"/>
          <p:cNvSpPr>
            <a:spLocks noChangeArrowheads="1"/>
          </p:cNvSpPr>
          <p:nvPr/>
        </p:nvSpPr>
        <p:spPr bwMode="auto">
          <a:xfrm>
            <a:off x="11375669" y="5276823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4"/>
          <p:cNvSpPr>
            <a:spLocks noChangeArrowheads="1"/>
          </p:cNvSpPr>
          <p:nvPr/>
        </p:nvSpPr>
        <p:spPr bwMode="auto">
          <a:xfrm>
            <a:off x="11376586" y="4522072"/>
            <a:ext cx="812363" cy="754751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17"/>
          <p:cNvSpPr>
            <a:spLocks noChangeArrowheads="1"/>
          </p:cNvSpPr>
          <p:nvPr/>
        </p:nvSpPr>
        <p:spPr bwMode="auto">
          <a:xfrm>
            <a:off x="11375670" y="-4589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19"/>
          <p:cNvSpPr>
            <a:spLocks noChangeArrowheads="1"/>
          </p:cNvSpPr>
          <p:nvPr/>
        </p:nvSpPr>
        <p:spPr bwMode="auto">
          <a:xfrm>
            <a:off x="11376586" y="3012572"/>
            <a:ext cx="812363" cy="754751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1"/>
          <p:cNvSpPr>
            <a:spLocks noChangeArrowheads="1"/>
          </p:cNvSpPr>
          <p:nvPr/>
        </p:nvSpPr>
        <p:spPr bwMode="auto">
          <a:xfrm>
            <a:off x="11376586" y="6031572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2"/>
          <p:cNvSpPr>
            <a:spLocks noChangeArrowheads="1"/>
          </p:cNvSpPr>
          <p:nvPr/>
        </p:nvSpPr>
        <p:spPr bwMode="auto">
          <a:xfrm>
            <a:off x="11375670" y="1502768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2" name="Rectangle 25"/>
          <p:cNvSpPr>
            <a:spLocks noChangeArrowheads="1"/>
          </p:cNvSpPr>
          <p:nvPr/>
        </p:nvSpPr>
        <p:spPr bwMode="auto">
          <a:xfrm>
            <a:off x="11376586" y="3767322"/>
            <a:ext cx="812363" cy="754751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29"/>
          <p:cNvSpPr>
            <a:spLocks noChangeArrowheads="1"/>
          </p:cNvSpPr>
          <p:nvPr/>
        </p:nvSpPr>
        <p:spPr bwMode="auto">
          <a:xfrm>
            <a:off x="11375670" y="748019"/>
            <a:ext cx="812363" cy="754751"/>
          </a:xfrm>
          <a:prstGeom prst="rect">
            <a:avLst/>
          </a:prstGeom>
          <a:solidFill>
            <a:srgbClr val="9ED44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2"/>
          <p:cNvSpPr>
            <a:spLocks noEditPoints="1"/>
          </p:cNvSpPr>
          <p:nvPr/>
        </p:nvSpPr>
        <p:spPr bwMode="auto">
          <a:xfrm>
            <a:off x="11600809" y="2514255"/>
            <a:ext cx="362085" cy="271895"/>
          </a:xfrm>
          <a:custGeom>
            <a:avLst/>
            <a:gdLst>
              <a:gd name="T0" fmla="*/ 787 w 859"/>
              <a:gd name="T1" fmla="*/ 107 h 644"/>
              <a:gd name="T2" fmla="*/ 787 w 859"/>
              <a:gd name="T3" fmla="*/ 573 h 644"/>
              <a:gd name="T4" fmla="*/ 537 w 859"/>
              <a:gd name="T5" fmla="*/ 573 h 644"/>
              <a:gd name="T6" fmla="*/ 465 w 859"/>
              <a:gd name="T7" fmla="*/ 644 h 644"/>
              <a:gd name="T8" fmla="*/ 859 w 859"/>
              <a:gd name="T9" fmla="*/ 644 h 644"/>
              <a:gd name="T10" fmla="*/ 859 w 859"/>
              <a:gd name="T11" fmla="*/ 107 h 644"/>
              <a:gd name="T12" fmla="*/ 787 w 859"/>
              <a:gd name="T13" fmla="*/ 107 h 644"/>
              <a:gd name="T14" fmla="*/ 476 w 859"/>
              <a:gd name="T15" fmla="*/ 476 h 644"/>
              <a:gd name="T16" fmla="*/ 383 w 859"/>
              <a:gd name="T17" fmla="*/ 476 h 644"/>
              <a:gd name="T18" fmla="*/ 373 w 859"/>
              <a:gd name="T19" fmla="*/ 465 h 644"/>
              <a:gd name="T20" fmla="*/ 179 w 859"/>
              <a:gd name="T21" fmla="*/ 465 h 644"/>
              <a:gd name="T22" fmla="*/ 179 w 859"/>
              <a:gd name="T23" fmla="*/ 71 h 644"/>
              <a:gd name="T24" fmla="*/ 344 w 859"/>
              <a:gd name="T25" fmla="*/ 71 h 644"/>
              <a:gd name="T26" fmla="*/ 393 w 859"/>
              <a:gd name="T27" fmla="*/ 96 h 644"/>
              <a:gd name="T28" fmla="*/ 393 w 859"/>
              <a:gd name="T29" fmla="*/ 358 h 644"/>
              <a:gd name="T30" fmla="*/ 465 w 859"/>
              <a:gd name="T31" fmla="*/ 358 h 644"/>
              <a:gd name="T32" fmla="*/ 465 w 859"/>
              <a:gd name="T33" fmla="*/ 96 h 644"/>
              <a:gd name="T34" fmla="*/ 515 w 859"/>
              <a:gd name="T35" fmla="*/ 71 h 644"/>
              <a:gd name="T36" fmla="*/ 680 w 859"/>
              <a:gd name="T37" fmla="*/ 71 h 644"/>
              <a:gd name="T38" fmla="*/ 680 w 859"/>
              <a:gd name="T39" fmla="*/ 465 h 644"/>
              <a:gd name="T40" fmla="*/ 486 w 859"/>
              <a:gd name="T41" fmla="*/ 465 h 644"/>
              <a:gd name="T42" fmla="*/ 476 w 859"/>
              <a:gd name="T43" fmla="*/ 476 h 644"/>
              <a:gd name="T44" fmla="*/ 752 w 859"/>
              <a:gd name="T45" fmla="*/ 537 h 644"/>
              <a:gd name="T46" fmla="*/ 752 w 859"/>
              <a:gd name="T47" fmla="*/ 0 h 644"/>
              <a:gd name="T48" fmla="*/ 486 w 859"/>
              <a:gd name="T49" fmla="*/ 0 h 644"/>
              <a:gd name="T50" fmla="*/ 476 w 859"/>
              <a:gd name="T51" fmla="*/ 10 h 644"/>
              <a:gd name="T52" fmla="*/ 383 w 859"/>
              <a:gd name="T53" fmla="*/ 10 h 644"/>
              <a:gd name="T54" fmla="*/ 373 w 859"/>
              <a:gd name="T55" fmla="*/ 0 h 644"/>
              <a:gd name="T56" fmla="*/ 107 w 859"/>
              <a:gd name="T57" fmla="*/ 0 h 644"/>
              <a:gd name="T58" fmla="*/ 107 w 859"/>
              <a:gd name="T59" fmla="*/ 537 h 644"/>
              <a:gd name="T60" fmla="*/ 344 w 859"/>
              <a:gd name="T61" fmla="*/ 537 h 644"/>
              <a:gd name="T62" fmla="*/ 429 w 859"/>
              <a:gd name="T63" fmla="*/ 566 h 644"/>
              <a:gd name="T64" fmla="*/ 515 w 859"/>
              <a:gd name="T65" fmla="*/ 537 h 644"/>
              <a:gd name="T66" fmla="*/ 752 w 859"/>
              <a:gd name="T67" fmla="*/ 537 h 644"/>
              <a:gd name="T68" fmla="*/ 71 w 859"/>
              <a:gd name="T69" fmla="*/ 573 h 644"/>
              <a:gd name="T70" fmla="*/ 71 w 859"/>
              <a:gd name="T71" fmla="*/ 107 h 644"/>
              <a:gd name="T72" fmla="*/ 0 w 859"/>
              <a:gd name="T73" fmla="*/ 107 h 644"/>
              <a:gd name="T74" fmla="*/ 0 w 859"/>
              <a:gd name="T75" fmla="*/ 644 h 644"/>
              <a:gd name="T76" fmla="*/ 394 w 859"/>
              <a:gd name="T77" fmla="*/ 644 h 644"/>
              <a:gd name="T78" fmla="*/ 322 w 859"/>
              <a:gd name="T79" fmla="*/ 573 h 644"/>
              <a:gd name="T80" fmla="*/ 71 w 859"/>
              <a:gd name="T81" fmla="*/ 573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9" h="644">
                <a:moveTo>
                  <a:pt x="787" y="107"/>
                </a:moveTo>
                <a:lnTo>
                  <a:pt x="787" y="573"/>
                </a:lnTo>
                <a:lnTo>
                  <a:pt x="537" y="573"/>
                </a:lnTo>
                <a:lnTo>
                  <a:pt x="465" y="644"/>
                </a:lnTo>
                <a:lnTo>
                  <a:pt x="859" y="644"/>
                </a:lnTo>
                <a:lnTo>
                  <a:pt x="859" y="107"/>
                </a:lnTo>
                <a:lnTo>
                  <a:pt x="787" y="107"/>
                </a:lnTo>
                <a:close/>
                <a:moveTo>
                  <a:pt x="476" y="476"/>
                </a:moveTo>
                <a:cubicBezTo>
                  <a:pt x="450" y="501"/>
                  <a:pt x="409" y="501"/>
                  <a:pt x="383" y="476"/>
                </a:cubicBezTo>
                <a:lnTo>
                  <a:pt x="373" y="465"/>
                </a:lnTo>
                <a:lnTo>
                  <a:pt x="179" y="465"/>
                </a:lnTo>
                <a:lnTo>
                  <a:pt x="179" y="71"/>
                </a:lnTo>
                <a:lnTo>
                  <a:pt x="344" y="71"/>
                </a:lnTo>
                <a:cubicBezTo>
                  <a:pt x="359" y="71"/>
                  <a:pt x="393" y="91"/>
                  <a:pt x="393" y="96"/>
                </a:cubicBezTo>
                <a:lnTo>
                  <a:pt x="393" y="358"/>
                </a:lnTo>
                <a:lnTo>
                  <a:pt x="465" y="358"/>
                </a:lnTo>
                <a:lnTo>
                  <a:pt x="465" y="96"/>
                </a:lnTo>
                <a:cubicBezTo>
                  <a:pt x="465" y="91"/>
                  <a:pt x="500" y="71"/>
                  <a:pt x="515" y="71"/>
                </a:cubicBezTo>
                <a:lnTo>
                  <a:pt x="680" y="71"/>
                </a:lnTo>
                <a:lnTo>
                  <a:pt x="680" y="465"/>
                </a:lnTo>
                <a:lnTo>
                  <a:pt x="486" y="465"/>
                </a:lnTo>
                <a:lnTo>
                  <a:pt x="476" y="476"/>
                </a:lnTo>
                <a:close/>
                <a:moveTo>
                  <a:pt x="752" y="537"/>
                </a:moveTo>
                <a:lnTo>
                  <a:pt x="752" y="0"/>
                </a:lnTo>
                <a:lnTo>
                  <a:pt x="486" y="0"/>
                </a:lnTo>
                <a:lnTo>
                  <a:pt x="476" y="10"/>
                </a:lnTo>
                <a:cubicBezTo>
                  <a:pt x="450" y="36"/>
                  <a:pt x="409" y="36"/>
                  <a:pt x="383" y="10"/>
                </a:cubicBezTo>
                <a:lnTo>
                  <a:pt x="373" y="0"/>
                </a:lnTo>
                <a:lnTo>
                  <a:pt x="107" y="0"/>
                </a:lnTo>
                <a:lnTo>
                  <a:pt x="107" y="537"/>
                </a:lnTo>
                <a:lnTo>
                  <a:pt x="344" y="537"/>
                </a:lnTo>
                <a:cubicBezTo>
                  <a:pt x="369" y="573"/>
                  <a:pt x="399" y="566"/>
                  <a:pt x="429" y="566"/>
                </a:cubicBezTo>
                <a:cubicBezTo>
                  <a:pt x="460" y="566"/>
                  <a:pt x="490" y="573"/>
                  <a:pt x="515" y="537"/>
                </a:cubicBezTo>
                <a:lnTo>
                  <a:pt x="752" y="537"/>
                </a:lnTo>
                <a:close/>
                <a:moveTo>
                  <a:pt x="71" y="573"/>
                </a:moveTo>
                <a:lnTo>
                  <a:pt x="71" y="107"/>
                </a:lnTo>
                <a:lnTo>
                  <a:pt x="0" y="107"/>
                </a:lnTo>
                <a:lnTo>
                  <a:pt x="0" y="644"/>
                </a:lnTo>
                <a:lnTo>
                  <a:pt x="394" y="644"/>
                </a:lnTo>
                <a:lnTo>
                  <a:pt x="322" y="573"/>
                </a:lnTo>
                <a:lnTo>
                  <a:pt x="71" y="5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0"/>
          <p:cNvSpPr>
            <a:spLocks noEditPoints="1"/>
          </p:cNvSpPr>
          <p:nvPr/>
        </p:nvSpPr>
        <p:spPr bwMode="auto">
          <a:xfrm>
            <a:off x="11601728" y="1744503"/>
            <a:ext cx="360248" cy="301287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8" name="Freeform 41"/>
          <p:cNvSpPr>
            <a:spLocks/>
          </p:cNvSpPr>
          <p:nvPr/>
        </p:nvSpPr>
        <p:spPr bwMode="auto">
          <a:xfrm>
            <a:off x="11600809" y="4756459"/>
            <a:ext cx="362085" cy="315984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69" name="Группа 68"/>
          <p:cNvGrpSpPr/>
          <p:nvPr/>
        </p:nvGrpSpPr>
        <p:grpSpPr>
          <a:xfrm>
            <a:off x="11614594" y="200960"/>
            <a:ext cx="334516" cy="361915"/>
            <a:chOff x="477468" y="2705515"/>
            <a:chExt cx="409903" cy="443477"/>
          </a:xfrm>
        </p:grpSpPr>
        <p:sp>
          <p:nvSpPr>
            <p:cNvPr id="70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1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72" name="Freeform 44"/>
          <p:cNvSpPr>
            <a:spLocks noEditPoints="1"/>
          </p:cNvSpPr>
          <p:nvPr/>
        </p:nvSpPr>
        <p:spPr bwMode="auto">
          <a:xfrm>
            <a:off x="11606322" y="5464056"/>
            <a:ext cx="351059" cy="380284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3" name="Freeform 45"/>
          <p:cNvSpPr>
            <a:spLocks noEditPoints="1"/>
          </p:cNvSpPr>
          <p:nvPr/>
        </p:nvSpPr>
        <p:spPr bwMode="auto">
          <a:xfrm>
            <a:off x="11601728" y="966788"/>
            <a:ext cx="360248" cy="347216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89" name="Freeform 46"/>
          <p:cNvSpPr>
            <a:spLocks noEditPoints="1"/>
          </p:cNvSpPr>
          <p:nvPr/>
        </p:nvSpPr>
        <p:spPr bwMode="auto">
          <a:xfrm>
            <a:off x="11655949" y="3977824"/>
            <a:ext cx="251807" cy="363751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5" name="Freeform 52"/>
          <p:cNvSpPr>
            <a:spLocks noEditPoints="1"/>
          </p:cNvSpPr>
          <p:nvPr/>
        </p:nvSpPr>
        <p:spPr bwMode="auto">
          <a:xfrm>
            <a:off x="11605404" y="3223075"/>
            <a:ext cx="352896" cy="36375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Freeform 53"/>
          <p:cNvSpPr>
            <a:spLocks noEditPoints="1"/>
          </p:cNvSpPr>
          <p:nvPr/>
        </p:nvSpPr>
        <p:spPr bwMode="auto">
          <a:xfrm>
            <a:off x="11594376" y="6260448"/>
            <a:ext cx="374952" cy="327005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115" name="AutoShape 4"/>
          <p:cNvSpPr>
            <a:spLocks noChangeAspect="1" noChangeArrowheads="1" noTextEdit="1"/>
          </p:cNvSpPr>
          <p:nvPr/>
        </p:nvSpPr>
        <p:spPr bwMode="auto">
          <a:xfrm>
            <a:off x="7993126" y="966400"/>
            <a:ext cx="918665" cy="317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2" name="Группа 41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5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0" name="Прямоугольник 9"/>
          <p:cNvSpPr/>
          <p:nvPr/>
        </p:nvSpPr>
        <p:spPr>
          <a:xfrm>
            <a:off x="1548658" y="-202"/>
            <a:ext cx="1035709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  <a:latin typeface="Carlito"/>
              </a:rPr>
              <a:t>УМК «КЛАССИЧЕСКАЯ ГЕОГРАФИЯ» — формирование  умений ставить проблемные вопросы и решать практические задачи.</a:t>
            </a:r>
          </a:p>
          <a:p>
            <a:endParaRPr lang="ru-RU" b="1" dirty="0">
              <a:solidFill>
                <a:srgbClr val="002060"/>
              </a:solidFill>
              <a:latin typeface="Carlito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006175" y="3214774"/>
            <a:ext cx="4256002" cy="891664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12550" y="986005"/>
            <a:ext cx="3568201" cy="3467604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15" name="Прямоугольник 14"/>
          <p:cNvSpPr/>
          <p:nvPr/>
        </p:nvSpPr>
        <p:spPr>
          <a:xfrm>
            <a:off x="1635783" y="673415"/>
            <a:ext cx="338073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i="1" dirty="0">
                <a:solidFill>
                  <a:schemeClr val="accent5">
                    <a:lumMod val="75000"/>
                  </a:schemeClr>
                </a:solidFill>
                <a:latin typeface="Carlito"/>
              </a:rPr>
              <a:t>«Как изучать географию России?»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2811423" y="1194588"/>
            <a:ext cx="817886" cy="3077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</a:rPr>
              <a:t>8 класс</a:t>
            </a: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 rotWithShape="1">
          <a:blip r:embed="rId12"/>
          <a:srcRect b="26479"/>
          <a:stretch/>
        </p:blipFill>
        <p:spPr>
          <a:xfrm>
            <a:off x="173078" y="4929684"/>
            <a:ext cx="4443318" cy="973269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19" name="Прямоугольник 18"/>
          <p:cNvSpPr/>
          <p:nvPr/>
        </p:nvSpPr>
        <p:spPr>
          <a:xfrm>
            <a:off x="224853" y="4437466"/>
            <a:ext cx="414117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i="1" dirty="0">
                <a:solidFill>
                  <a:schemeClr val="accent5">
                    <a:lumMod val="75000"/>
                  </a:schemeClr>
                </a:solidFill>
                <a:latin typeface="Carlito"/>
              </a:rPr>
              <a:t>Формирование  умения аргументировать </a:t>
            </a:r>
          </a:p>
          <a:p>
            <a:r>
              <a:rPr lang="ru-RU" sz="1400" b="1" i="1" dirty="0">
                <a:solidFill>
                  <a:schemeClr val="accent5">
                    <a:lumMod val="75000"/>
                  </a:schemeClr>
                </a:solidFill>
                <a:latin typeface="Carlito"/>
              </a:rPr>
              <a:t>и отстаивать свою точку зрения</a:t>
            </a: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 rotWithShape="1">
          <a:blip r:embed="rId13"/>
          <a:srcRect l="2775" t="6357" b="45496"/>
          <a:stretch/>
        </p:blipFill>
        <p:spPr>
          <a:xfrm>
            <a:off x="7796056" y="4885052"/>
            <a:ext cx="3534193" cy="1040481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21" name="TextBox 20"/>
          <p:cNvSpPr txBox="1"/>
          <p:nvPr/>
        </p:nvSpPr>
        <p:spPr>
          <a:xfrm>
            <a:off x="7737180" y="4273397"/>
            <a:ext cx="35510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i="1" dirty="0">
                <a:solidFill>
                  <a:schemeClr val="accent5">
                    <a:lumMod val="75000"/>
                  </a:schemeClr>
                </a:solidFill>
                <a:latin typeface="Carlito"/>
              </a:rPr>
              <a:t>Воспитание патриотизма и духовно-нравственных ценностей</a:t>
            </a: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 rotWithShape="1">
          <a:blip r:embed="rId14"/>
          <a:srcRect r="28852"/>
          <a:stretch/>
        </p:blipFill>
        <p:spPr>
          <a:xfrm>
            <a:off x="3723251" y="2614873"/>
            <a:ext cx="3224414" cy="1676478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25" name="TextBox 24"/>
          <p:cNvSpPr txBox="1"/>
          <p:nvPr/>
        </p:nvSpPr>
        <p:spPr>
          <a:xfrm>
            <a:off x="7708889" y="655343"/>
            <a:ext cx="37364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i="1" dirty="0">
                <a:solidFill>
                  <a:schemeClr val="accent5">
                    <a:lumMod val="75000"/>
                  </a:schemeClr>
                </a:solidFill>
                <a:latin typeface="Carlito"/>
              </a:rPr>
              <a:t>Решение практических задач</a:t>
            </a:r>
            <a:endParaRPr lang="ru-RU" sz="1400" b="1" i="1" dirty="0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030273" y="2428128"/>
            <a:ext cx="4344479" cy="708836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27" name="Рисунок 26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88691" y="5958443"/>
            <a:ext cx="4427705" cy="588791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28" name="Рисунок 27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880053" y="5731931"/>
            <a:ext cx="4400395" cy="965248"/>
          </a:xfrm>
          <a:prstGeom prst="rect">
            <a:avLst/>
          </a:prstGeom>
        </p:spPr>
      </p:pic>
      <p:cxnSp>
        <p:nvCxnSpPr>
          <p:cNvPr id="90" name="Прямая соединительная линия 89"/>
          <p:cNvCxnSpPr/>
          <p:nvPr/>
        </p:nvCxnSpPr>
        <p:spPr>
          <a:xfrm>
            <a:off x="1635783" y="632808"/>
            <a:ext cx="9706667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282948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35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xmlns="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11375669" y="2257824"/>
            <a:ext cx="812363" cy="754751"/>
          </a:xfrm>
          <a:prstGeom prst="rect">
            <a:avLst/>
          </a:prstGeom>
          <a:solidFill>
            <a:srgbClr val="40D4E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3"/>
          <p:cNvSpPr>
            <a:spLocks noChangeArrowheads="1"/>
          </p:cNvSpPr>
          <p:nvPr/>
        </p:nvSpPr>
        <p:spPr bwMode="auto">
          <a:xfrm>
            <a:off x="11375669" y="5276823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4"/>
          <p:cNvSpPr>
            <a:spLocks noChangeArrowheads="1"/>
          </p:cNvSpPr>
          <p:nvPr/>
        </p:nvSpPr>
        <p:spPr bwMode="auto">
          <a:xfrm>
            <a:off x="11376586" y="4522072"/>
            <a:ext cx="812363" cy="754751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17"/>
          <p:cNvSpPr>
            <a:spLocks noChangeArrowheads="1"/>
          </p:cNvSpPr>
          <p:nvPr/>
        </p:nvSpPr>
        <p:spPr bwMode="auto">
          <a:xfrm>
            <a:off x="11375670" y="-4589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19"/>
          <p:cNvSpPr>
            <a:spLocks noChangeArrowheads="1"/>
          </p:cNvSpPr>
          <p:nvPr/>
        </p:nvSpPr>
        <p:spPr bwMode="auto">
          <a:xfrm>
            <a:off x="11376586" y="3012572"/>
            <a:ext cx="812363" cy="754751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1"/>
          <p:cNvSpPr>
            <a:spLocks noChangeArrowheads="1"/>
          </p:cNvSpPr>
          <p:nvPr/>
        </p:nvSpPr>
        <p:spPr bwMode="auto">
          <a:xfrm>
            <a:off x="11376586" y="6031572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2"/>
          <p:cNvSpPr>
            <a:spLocks noChangeArrowheads="1"/>
          </p:cNvSpPr>
          <p:nvPr/>
        </p:nvSpPr>
        <p:spPr bwMode="auto">
          <a:xfrm>
            <a:off x="11375670" y="1502768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2" name="Rectangle 25"/>
          <p:cNvSpPr>
            <a:spLocks noChangeArrowheads="1"/>
          </p:cNvSpPr>
          <p:nvPr/>
        </p:nvSpPr>
        <p:spPr bwMode="auto">
          <a:xfrm>
            <a:off x="11376586" y="3767322"/>
            <a:ext cx="812363" cy="754751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29"/>
          <p:cNvSpPr>
            <a:spLocks noChangeArrowheads="1"/>
          </p:cNvSpPr>
          <p:nvPr/>
        </p:nvSpPr>
        <p:spPr bwMode="auto">
          <a:xfrm>
            <a:off x="11375670" y="748019"/>
            <a:ext cx="812363" cy="754751"/>
          </a:xfrm>
          <a:prstGeom prst="rect">
            <a:avLst/>
          </a:prstGeom>
          <a:solidFill>
            <a:srgbClr val="9ED44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2"/>
          <p:cNvSpPr>
            <a:spLocks noEditPoints="1"/>
          </p:cNvSpPr>
          <p:nvPr/>
        </p:nvSpPr>
        <p:spPr bwMode="auto">
          <a:xfrm>
            <a:off x="11600809" y="2514255"/>
            <a:ext cx="362085" cy="271895"/>
          </a:xfrm>
          <a:custGeom>
            <a:avLst/>
            <a:gdLst>
              <a:gd name="T0" fmla="*/ 787 w 859"/>
              <a:gd name="T1" fmla="*/ 107 h 644"/>
              <a:gd name="T2" fmla="*/ 787 w 859"/>
              <a:gd name="T3" fmla="*/ 573 h 644"/>
              <a:gd name="T4" fmla="*/ 537 w 859"/>
              <a:gd name="T5" fmla="*/ 573 h 644"/>
              <a:gd name="T6" fmla="*/ 465 w 859"/>
              <a:gd name="T7" fmla="*/ 644 h 644"/>
              <a:gd name="T8" fmla="*/ 859 w 859"/>
              <a:gd name="T9" fmla="*/ 644 h 644"/>
              <a:gd name="T10" fmla="*/ 859 w 859"/>
              <a:gd name="T11" fmla="*/ 107 h 644"/>
              <a:gd name="T12" fmla="*/ 787 w 859"/>
              <a:gd name="T13" fmla="*/ 107 h 644"/>
              <a:gd name="T14" fmla="*/ 476 w 859"/>
              <a:gd name="T15" fmla="*/ 476 h 644"/>
              <a:gd name="T16" fmla="*/ 383 w 859"/>
              <a:gd name="T17" fmla="*/ 476 h 644"/>
              <a:gd name="T18" fmla="*/ 373 w 859"/>
              <a:gd name="T19" fmla="*/ 465 h 644"/>
              <a:gd name="T20" fmla="*/ 179 w 859"/>
              <a:gd name="T21" fmla="*/ 465 h 644"/>
              <a:gd name="T22" fmla="*/ 179 w 859"/>
              <a:gd name="T23" fmla="*/ 71 h 644"/>
              <a:gd name="T24" fmla="*/ 344 w 859"/>
              <a:gd name="T25" fmla="*/ 71 h 644"/>
              <a:gd name="T26" fmla="*/ 393 w 859"/>
              <a:gd name="T27" fmla="*/ 96 h 644"/>
              <a:gd name="T28" fmla="*/ 393 w 859"/>
              <a:gd name="T29" fmla="*/ 358 h 644"/>
              <a:gd name="T30" fmla="*/ 465 w 859"/>
              <a:gd name="T31" fmla="*/ 358 h 644"/>
              <a:gd name="T32" fmla="*/ 465 w 859"/>
              <a:gd name="T33" fmla="*/ 96 h 644"/>
              <a:gd name="T34" fmla="*/ 515 w 859"/>
              <a:gd name="T35" fmla="*/ 71 h 644"/>
              <a:gd name="T36" fmla="*/ 680 w 859"/>
              <a:gd name="T37" fmla="*/ 71 h 644"/>
              <a:gd name="T38" fmla="*/ 680 w 859"/>
              <a:gd name="T39" fmla="*/ 465 h 644"/>
              <a:gd name="T40" fmla="*/ 486 w 859"/>
              <a:gd name="T41" fmla="*/ 465 h 644"/>
              <a:gd name="T42" fmla="*/ 476 w 859"/>
              <a:gd name="T43" fmla="*/ 476 h 644"/>
              <a:gd name="T44" fmla="*/ 752 w 859"/>
              <a:gd name="T45" fmla="*/ 537 h 644"/>
              <a:gd name="T46" fmla="*/ 752 w 859"/>
              <a:gd name="T47" fmla="*/ 0 h 644"/>
              <a:gd name="T48" fmla="*/ 486 w 859"/>
              <a:gd name="T49" fmla="*/ 0 h 644"/>
              <a:gd name="T50" fmla="*/ 476 w 859"/>
              <a:gd name="T51" fmla="*/ 10 h 644"/>
              <a:gd name="T52" fmla="*/ 383 w 859"/>
              <a:gd name="T53" fmla="*/ 10 h 644"/>
              <a:gd name="T54" fmla="*/ 373 w 859"/>
              <a:gd name="T55" fmla="*/ 0 h 644"/>
              <a:gd name="T56" fmla="*/ 107 w 859"/>
              <a:gd name="T57" fmla="*/ 0 h 644"/>
              <a:gd name="T58" fmla="*/ 107 w 859"/>
              <a:gd name="T59" fmla="*/ 537 h 644"/>
              <a:gd name="T60" fmla="*/ 344 w 859"/>
              <a:gd name="T61" fmla="*/ 537 h 644"/>
              <a:gd name="T62" fmla="*/ 429 w 859"/>
              <a:gd name="T63" fmla="*/ 566 h 644"/>
              <a:gd name="T64" fmla="*/ 515 w 859"/>
              <a:gd name="T65" fmla="*/ 537 h 644"/>
              <a:gd name="T66" fmla="*/ 752 w 859"/>
              <a:gd name="T67" fmla="*/ 537 h 644"/>
              <a:gd name="T68" fmla="*/ 71 w 859"/>
              <a:gd name="T69" fmla="*/ 573 h 644"/>
              <a:gd name="T70" fmla="*/ 71 w 859"/>
              <a:gd name="T71" fmla="*/ 107 h 644"/>
              <a:gd name="T72" fmla="*/ 0 w 859"/>
              <a:gd name="T73" fmla="*/ 107 h 644"/>
              <a:gd name="T74" fmla="*/ 0 w 859"/>
              <a:gd name="T75" fmla="*/ 644 h 644"/>
              <a:gd name="T76" fmla="*/ 394 w 859"/>
              <a:gd name="T77" fmla="*/ 644 h 644"/>
              <a:gd name="T78" fmla="*/ 322 w 859"/>
              <a:gd name="T79" fmla="*/ 573 h 644"/>
              <a:gd name="T80" fmla="*/ 71 w 859"/>
              <a:gd name="T81" fmla="*/ 573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9" h="644">
                <a:moveTo>
                  <a:pt x="787" y="107"/>
                </a:moveTo>
                <a:lnTo>
                  <a:pt x="787" y="573"/>
                </a:lnTo>
                <a:lnTo>
                  <a:pt x="537" y="573"/>
                </a:lnTo>
                <a:lnTo>
                  <a:pt x="465" y="644"/>
                </a:lnTo>
                <a:lnTo>
                  <a:pt x="859" y="644"/>
                </a:lnTo>
                <a:lnTo>
                  <a:pt x="859" y="107"/>
                </a:lnTo>
                <a:lnTo>
                  <a:pt x="787" y="107"/>
                </a:lnTo>
                <a:close/>
                <a:moveTo>
                  <a:pt x="476" y="476"/>
                </a:moveTo>
                <a:cubicBezTo>
                  <a:pt x="450" y="501"/>
                  <a:pt x="409" y="501"/>
                  <a:pt x="383" y="476"/>
                </a:cubicBezTo>
                <a:lnTo>
                  <a:pt x="373" y="465"/>
                </a:lnTo>
                <a:lnTo>
                  <a:pt x="179" y="465"/>
                </a:lnTo>
                <a:lnTo>
                  <a:pt x="179" y="71"/>
                </a:lnTo>
                <a:lnTo>
                  <a:pt x="344" y="71"/>
                </a:lnTo>
                <a:cubicBezTo>
                  <a:pt x="359" y="71"/>
                  <a:pt x="393" y="91"/>
                  <a:pt x="393" y="96"/>
                </a:cubicBezTo>
                <a:lnTo>
                  <a:pt x="393" y="358"/>
                </a:lnTo>
                <a:lnTo>
                  <a:pt x="465" y="358"/>
                </a:lnTo>
                <a:lnTo>
                  <a:pt x="465" y="96"/>
                </a:lnTo>
                <a:cubicBezTo>
                  <a:pt x="465" y="91"/>
                  <a:pt x="500" y="71"/>
                  <a:pt x="515" y="71"/>
                </a:cubicBezTo>
                <a:lnTo>
                  <a:pt x="680" y="71"/>
                </a:lnTo>
                <a:lnTo>
                  <a:pt x="680" y="465"/>
                </a:lnTo>
                <a:lnTo>
                  <a:pt x="486" y="465"/>
                </a:lnTo>
                <a:lnTo>
                  <a:pt x="476" y="476"/>
                </a:lnTo>
                <a:close/>
                <a:moveTo>
                  <a:pt x="752" y="537"/>
                </a:moveTo>
                <a:lnTo>
                  <a:pt x="752" y="0"/>
                </a:lnTo>
                <a:lnTo>
                  <a:pt x="486" y="0"/>
                </a:lnTo>
                <a:lnTo>
                  <a:pt x="476" y="10"/>
                </a:lnTo>
                <a:cubicBezTo>
                  <a:pt x="450" y="36"/>
                  <a:pt x="409" y="36"/>
                  <a:pt x="383" y="10"/>
                </a:cubicBezTo>
                <a:lnTo>
                  <a:pt x="373" y="0"/>
                </a:lnTo>
                <a:lnTo>
                  <a:pt x="107" y="0"/>
                </a:lnTo>
                <a:lnTo>
                  <a:pt x="107" y="537"/>
                </a:lnTo>
                <a:lnTo>
                  <a:pt x="344" y="537"/>
                </a:lnTo>
                <a:cubicBezTo>
                  <a:pt x="369" y="573"/>
                  <a:pt x="399" y="566"/>
                  <a:pt x="429" y="566"/>
                </a:cubicBezTo>
                <a:cubicBezTo>
                  <a:pt x="460" y="566"/>
                  <a:pt x="490" y="573"/>
                  <a:pt x="515" y="537"/>
                </a:cubicBezTo>
                <a:lnTo>
                  <a:pt x="752" y="537"/>
                </a:lnTo>
                <a:close/>
                <a:moveTo>
                  <a:pt x="71" y="573"/>
                </a:moveTo>
                <a:lnTo>
                  <a:pt x="71" y="107"/>
                </a:lnTo>
                <a:lnTo>
                  <a:pt x="0" y="107"/>
                </a:lnTo>
                <a:lnTo>
                  <a:pt x="0" y="644"/>
                </a:lnTo>
                <a:lnTo>
                  <a:pt x="394" y="644"/>
                </a:lnTo>
                <a:lnTo>
                  <a:pt x="322" y="573"/>
                </a:lnTo>
                <a:lnTo>
                  <a:pt x="71" y="5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0"/>
          <p:cNvSpPr>
            <a:spLocks noEditPoints="1"/>
          </p:cNvSpPr>
          <p:nvPr/>
        </p:nvSpPr>
        <p:spPr bwMode="auto">
          <a:xfrm>
            <a:off x="11601728" y="1744503"/>
            <a:ext cx="360248" cy="301287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8" name="Freeform 41"/>
          <p:cNvSpPr>
            <a:spLocks/>
          </p:cNvSpPr>
          <p:nvPr/>
        </p:nvSpPr>
        <p:spPr bwMode="auto">
          <a:xfrm>
            <a:off x="11600809" y="4756459"/>
            <a:ext cx="362085" cy="315984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69" name="Группа 68"/>
          <p:cNvGrpSpPr/>
          <p:nvPr/>
        </p:nvGrpSpPr>
        <p:grpSpPr>
          <a:xfrm>
            <a:off x="11614594" y="200960"/>
            <a:ext cx="334516" cy="361915"/>
            <a:chOff x="477468" y="2705515"/>
            <a:chExt cx="409903" cy="443477"/>
          </a:xfrm>
        </p:grpSpPr>
        <p:sp>
          <p:nvSpPr>
            <p:cNvPr id="70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1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72" name="Freeform 44"/>
          <p:cNvSpPr>
            <a:spLocks noEditPoints="1"/>
          </p:cNvSpPr>
          <p:nvPr/>
        </p:nvSpPr>
        <p:spPr bwMode="auto">
          <a:xfrm>
            <a:off x="11606322" y="5464056"/>
            <a:ext cx="351059" cy="380284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3" name="Freeform 45"/>
          <p:cNvSpPr>
            <a:spLocks noEditPoints="1"/>
          </p:cNvSpPr>
          <p:nvPr/>
        </p:nvSpPr>
        <p:spPr bwMode="auto">
          <a:xfrm>
            <a:off x="11601728" y="966788"/>
            <a:ext cx="360248" cy="347216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89" name="Freeform 46"/>
          <p:cNvSpPr>
            <a:spLocks noEditPoints="1"/>
          </p:cNvSpPr>
          <p:nvPr/>
        </p:nvSpPr>
        <p:spPr bwMode="auto">
          <a:xfrm>
            <a:off x="11655949" y="3977824"/>
            <a:ext cx="251807" cy="363751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5" name="Freeform 52"/>
          <p:cNvSpPr>
            <a:spLocks noEditPoints="1"/>
          </p:cNvSpPr>
          <p:nvPr/>
        </p:nvSpPr>
        <p:spPr bwMode="auto">
          <a:xfrm>
            <a:off x="11605404" y="3223075"/>
            <a:ext cx="352896" cy="36375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Freeform 53"/>
          <p:cNvSpPr>
            <a:spLocks noEditPoints="1"/>
          </p:cNvSpPr>
          <p:nvPr/>
        </p:nvSpPr>
        <p:spPr bwMode="auto">
          <a:xfrm>
            <a:off x="11594376" y="6260448"/>
            <a:ext cx="374952" cy="327005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115" name="AutoShape 4"/>
          <p:cNvSpPr>
            <a:spLocks noChangeAspect="1" noChangeArrowheads="1" noTextEdit="1"/>
          </p:cNvSpPr>
          <p:nvPr/>
        </p:nvSpPr>
        <p:spPr bwMode="auto">
          <a:xfrm>
            <a:off x="7993126" y="966400"/>
            <a:ext cx="918665" cy="317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2" name="Группа 41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5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0" name="Прямоугольник 9"/>
          <p:cNvSpPr/>
          <p:nvPr/>
        </p:nvSpPr>
        <p:spPr>
          <a:xfrm>
            <a:off x="1548658" y="-202"/>
            <a:ext cx="1035709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  <a:latin typeface="Carlito"/>
              </a:rPr>
              <a:t>УМК «КЛАССИЧЕСКАЯ ГЕОГРАФИЯ» — формирование  умений ставить проблемные вопросы и решать практические задачи.</a:t>
            </a:r>
          </a:p>
          <a:p>
            <a:endParaRPr lang="ru-RU" b="1" dirty="0">
              <a:solidFill>
                <a:srgbClr val="002060"/>
              </a:solidFill>
              <a:latin typeface="Carlito"/>
            </a:endParaRPr>
          </a:p>
        </p:txBody>
      </p:sp>
      <p:cxnSp>
        <p:nvCxnSpPr>
          <p:cNvPr id="90" name="Прямая соединительная линия 89"/>
          <p:cNvCxnSpPr/>
          <p:nvPr/>
        </p:nvCxnSpPr>
        <p:spPr>
          <a:xfrm>
            <a:off x="1635783" y="632808"/>
            <a:ext cx="9706667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D13A7B1B-1E5A-D240-AB6E-3F920DAF5D5C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240" y="1314739"/>
            <a:ext cx="4316727" cy="4081949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xmlns="" id="{75DC91C2-F410-3240-B703-074A40785D03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4558" y="2331299"/>
            <a:ext cx="4418703" cy="4178378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EA16A44C-A5D4-7F4C-9353-54A868E3D33F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5007" y="2981951"/>
            <a:ext cx="4006341" cy="3634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121274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40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xmlns="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11375669" y="2257824"/>
            <a:ext cx="812363" cy="754751"/>
          </a:xfrm>
          <a:prstGeom prst="rect">
            <a:avLst/>
          </a:prstGeom>
          <a:solidFill>
            <a:srgbClr val="40D4E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3"/>
          <p:cNvSpPr>
            <a:spLocks noChangeArrowheads="1"/>
          </p:cNvSpPr>
          <p:nvPr/>
        </p:nvSpPr>
        <p:spPr bwMode="auto">
          <a:xfrm>
            <a:off x="11375669" y="5276823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4"/>
          <p:cNvSpPr>
            <a:spLocks noChangeArrowheads="1"/>
          </p:cNvSpPr>
          <p:nvPr/>
        </p:nvSpPr>
        <p:spPr bwMode="auto">
          <a:xfrm>
            <a:off x="11376586" y="4522072"/>
            <a:ext cx="812363" cy="754751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17"/>
          <p:cNvSpPr>
            <a:spLocks noChangeArrowheads="1"/>
          </p:cNvSpPr>
          <p:nvPr/>
        </p:nvSpPr>
        <p:spPr bwMode="auto">
          <a:xfrm>
            <a:off x="11375670" y="-4589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19"/>
          <p:cNvSpPr>
            <a:spLocks noChangeArrowheads="1"/>
          </p:cNvSpPr>
          <p:nvPr/>
        </p:nvSpPr>
        <p:spPr bwMode="auto">
          <a:xfrm>
            <a:off x="11376586" y="3012572"/>
            <a:ext cx="812363" cy="754751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1"/>
          <p:cNvSpPr>
            <a:spLocks noChangeArrowheads="1"/>
          </p:cNvSpPr>
          <p:nvPr/>
        </p:nvSpPr>
        <p:spPr bwMode="auto">
          <a:xfrm>
            <a:off x="11376586" y="6031572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2"/>
          <p:cNvSpPr>
            <a:spLocks noChangeArrowheads="1"/>
          </p:cNvSpPr>
          <p:nvPr/>
        </p:nvSpPr>
        <p:spPr bwMode="auto">
          <a:xfrm>
            <a:off x="11375670" y="1502768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2" name="Rectangle 25"/>
          <p:cNvSpPr>
            <a:spLocks noChangeArrowheads="1"/>
          </p:cNvSpPr>
          <p:nvPr/>
        </p:nvSpPr>
        <p:spPr bwMode="auto">
          <a:xfrm>
            <a:off x="11376586" y="3767322"/>
            <a:ext cx="812363" cy="754751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29"/>
          <p:cNvSpPr>
            <a:spLocks noChangeArrowheads="1"/>
          </p:cNvSpPr>
          <p:nvPr/>
        </p:nvSpPr>
        <p:spPr bwMode="auto">
          <a:xfrm>
            <a:off x="11375670" y="748019"/>
            <a:ext cx="812363" cy="754751"/>
          </a:xfrm>
          <a:prstGeom prst="rect">
            <a:avLst/>
          </a:prstGeom>
          <a:solidFill>
            <a:srgbClr val="9ED44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2"/>
          <p:cNvSpPr>
            <a:spLocks noEditPoints="1"/>
          </p:cNvSpPr>
          <p:nvPr/>
        </p:nvSpPr>
        <p:spPr bwMode="auto">
          <a:xfrm>
            <a:off x="11600809" y="2514255"/>
            <a:ext cx="362085" cy="271895"/>
          </a:xfrm>
          <a:custGeom>
            <a:avLst/>
            <a:gdLst>
              <a:gd name="T0" fmla="*/ 787 w 859"/>
              <a:gd name="T1" fmla="*/ 107 h 644"/>
              <a:gd name="T2" fmla="*/ 787 w 859"/>
              <a:gd name="T3" fmla="*/ 573 h 644"/>
              <a:gd name="T4" fmla="*/ 537 w 859"/>
              <a:gd name="T5" fmla="*/ 573 h 644"/>
              <a:gd name="T6" fmla="*/ 465 w 859"/>
              <a:gd name="T7" fmla="*/ 644 h 644"/>
              <a:gd name="T8" fmla="*/ 859 w 859"/>
              <a:gd name="T9" fmla="*/ 644 h 644"/>
              <a:gd name="T10" fmla="*/ 859 w 859"/>
              <a:gd name="T11" fmla="*/ 107 h 644"/>
              <a:gd name="T12" fmla="*/ 787 w 859"/>
              <a:gd name="T13" fmla="*/ 107 h 644"/>
              <a:gd name="T14" fmla="*/ 476 w 859"/>
              <a:gd name="T15" fmla="*/ 476 h 644"/>
              <a:gd name="T16" fmla="*/ 383 w 859"/>
              <a:gd name="T17" fmla="*/ 476 h 644"/>
              <a:gd name="T18" fmla="*/ 373 w 859"/>
              <a:gd name="T19" fmla="*/ 465 h 644"/>
              <a:gd name="T20" fmla="*/ 179 w 859"/>
              <a:gd name="T21" fmla="*/ 465 h 644"/>
              <a:gd name="T22" fmla="*/ 179 w 859"/>
              <a:gd name="T23" fmla="*/ 71 h 644"/>
              <a:gd name="T24" fmla="*/ 344 w 859"/>
              <a:gd name="T25" fmla="*/ 71 h 644"/>
              <a:gd name="T26" fmla="*/ 393 w 859"/>
              <a:gd name="T27" fmla="*/ 96 h 644"/>
              <a:gd name="T28" fmla="*/ 393 w 859"/>
              <a:gd name="T29" fmla="*/ 358 h 644"/>
              <a:gd name="T30" fmla="*/ 465 w 859"/>
              <a:gd name="T31" fmla="*/ 358 h 644"/>
              <a:gd name="T32" fmla="*/ 465 w 859"/>
              <a:gd name="T33" fmla="*/ 96 h 644"/>
              <a:gd name="T34" fmla="*/ 515 w 859"/>
              <a:gd name="T35" fmla="*/ 71 h 644"/>
              <a:gd name="T36" fmla="*/ 680 w 859"/>
              <a:gd name="T37" fmla="*/ 71 h 644"/>
              <a:gd name="T38" fmla="*/ 680 w 859"/>
              <a:gd name="T39" fmla="*/ 465 h 644"/>
              <a:gd name="T40" fmla="*/ 486 w 859"/>
              <a:gd name="T41" fmla="*/ 465 h 644"/>
              <a:gd name="T42" fmla="*/ 476 w 859"/>
              <a:gd name="T43" fmla="*/ 476 h 644"/>
              <a:gd name="T44" fmla="*/ 752 w 859"/>
              <a:gd name="T45" fmla="*/ 537 h 644"/>
              <a:gd name="T46" fmla="*/ 752 w 859"/>
              <a:gd name="T47" fmla="*/ 0 h 644"/>
              <a:gd name="T48" fmla="*/ 486 w 859"/>
              <a:gd name="T49" fmla="*/ 0 h 644"/>
              <a:gd name="T50" fmla="*/ 476 w 859"/>
              <a:gd name="T51" fmla="*/ 10 h 644"/>
              <a:gd name="T52" fmla="*/ 383 w 859"/>
              <a:gd name="T53" fmla="*/ 10 h 644"/>
              <a:gd name="T54" fmla="*/ 373 w 859"/>
              <a:gd name="T55" fmla="*/ 0 h 644"/>
              <a:gd name="T56" fmla="*/ 107 w 859"/>
              <a:gd name="T57" fmla="*/ 0 h 644"/>
              <a:gd name="T58" fmla="*/ 107 w 859"/>
              <a:gd name="T59" fmla="*/ 537 h 644"/>
              <a:gd name="T60" fmla="*/ 344 w 859"/>
              <a:gd name="T61" fmla="*/ 537 h 644"/>
              <a:gd name="T62" fmla="*/ 429 w 859"/>
              <a:gd name="T63" fmla="*/ 566 h 644"/>
              <a:gd name="T64" fmla="*/ 515 w 859"/>
              <a:gd name="T65" fmla="*/ 537 h 644"/>
              <a:gd name="T66" fmla="*/ 752 w 859"/>
              <a:gd name="T67" fmla="*/ 537 h 644"/>
              <a:gd name="T68" fmla="*/ 71 w 859"/>
              <a:gd name="T69" fmla="*/ 573 h 644"/>
              <a:gd name="T70" fmla="*/ 71 w 859"/>
              <a:gd name="T71" fmla="*/ 107 h 644"/>
              <a:gd name="T72" fmla="*/ 0 w 859"/>
              <a:gd name="T73" fmla="*/ 107 h 644"/>
              <a:gd name="T74" fmla="*/ 0 w 859"/>
              <a:gd name="T75" fmla="*/ 644 h 644"/>
              <a:gd name="T76" fmla="*/ 394 w 859"/>
              <a:gd name="T77" fmla="*/ 644 h 644"/>
              <a:gd name="T78" fmla="*/ 322 w 859"/>
              <a:gd name="T79" fmla="*/ 573 h 644"/>
              <a:gd name="T80" fmla="*/ 71 w 859"/>
              <a:gd name="T81" fmla="*/ 573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9" h="644">
                <a:moveTo>
                  <a:pt x="787" y="107"/>
                </a:moveTo>
                <a:lnTo>
                  <a:pt x="787" y="573"/>
                </a:lnTo>
                <a:lnTo>
                  <a:pt x="537" y="573"/>
                </a:lnTo>
                <a:lnTo>
                  <a:pt x="465" y="644"/>
                </a:lnTo>
                <a:lnTo>
                  <a:pt x="859" y="644"/>
                </a:lnTo>
                <a:lnTo>
                  <a:pt x="859" y="107"/>
                </a:lnTo>
                <a:lnTo>
                  <a:pt x="787" y="107"/>
                </a:lnTo>
                <a:close/>
                <a:moveTo>
                  <a:pt x="476" y="476"/>
                </a:moveTo>
                <a:cubicBezTo>
                  <a:pt x="450" y="501"/>
                  <a:pt x="409" y="501"/>
                  <a:pt x="383" y="476"/>
                </a:cubicBezTo>
                <a:lnTo>
                  <a:pt x="373" y="465"/>
                </a:lnTo>
                <a:lnTo>
                  <a:pt x="179" y="465"/>
                </a:lnTo>
                <a:lnTo>
                  <a:pt x="179" y="71"/>
                </a:lnTo>
                <a:lnTo>
                  <a:pt x="344" y="71"/>
                </a:lnTo>
                <a:cubicBezTo>
                  <a:pt x="359" y="71"/>
                  <a:pt x="393" y="91"/>
                  <a:pt x="393" y="96"/>
                </a:cubicBezTo>
                <a:lnTo>
                  <a:pt x="393" y="358"/>
                </a:lnTo>
                <a:lnTo>
                  <a:pt x="465" y="358"/>
                </a:lnTo>
                <a:lnTo>
                  <a:pt x="465" y="96"/>
                </a:lnTo>
                <a:cubicBezTo>
                  <a:pt x="465" y="91"/>
                  <a:pt x="500" y="71"/>
                  <a:pt x="515" y="71"/>
                </a:cubicBezTo>
                <a:lnTo>
                  <a:pt x="680" y="71"/>
                </a:lnTo>
                <a:lnTo>
                  <a:pt x="680" y="465"/>
                </a:lnTo>
                <a:lnTo>
                  <a:pt x="486" y="465"/>
                </a:lnTo>
                <a:lnTo>
                  <a:pt x="476" y="476"/>
                </a:lnTo>
                <a:close/>
                <a:moveTo>
                  <a:pt x="752" y="537"/>
                </a:moveTo>
                <a:lnTo>
                  <a:pt x="752" y="0"/>
                </a:lnTo>
                <a:lnTo>
                  <a:pt x="486" y="0"/>
                </a:lnTo>
                <a:lnTo>
                  <a:pt x="476" y="10"/>
                </a:lnTo>
                <a:cubicBezTo>
                  <a:pt x="450" y="36"/>
                  <a:pt x="409" y="36"/>
                  <a:pt x="383" y="10"/>
                </a:cubicBezTo>
                <a:lnTo>
                  <a:pt x="373" y="0"/>
                </a:lnTo>
                <a:lnTo>
                  <a:pt x="107" y="0"/>
                </a:lnTo>
                <a:lnTo>
                  <a:pt x="107" y="537"/>
                </a:lnTo>
                <a:lnTo>
                  <a:pt x="344" y="537"/>
                </a:lnTo>
                <a:cubicBezTo>
                  <a:pt x="369" y="573"/>
                  <a:pt x="399" y="566"/>
                  <a:pt x="429" y="566"/>
                </a:cubicBezTo>
                <a:cubicBezTo>
                  <a:pt x="460" y="566"/>
                  <a:pt x="490" y="573"/>
                  <a:pt x="515" y="537"/>
                </a:cubicBezTo>
                <a:lnTo>
                  <a:pt x="752" y="537"/>
                </a:lnTo>
                <a:close/>
                <a:moveTo>
                  <a:pt x="71" y="573"/>
                </a:moveTo>
                <a:lnTo>
                  <a:pt x="71" y="107"/>
                </a:lnTo>
                <a:lnTo>
                  <a:pt x="0" y="107"/>
                </a:lnTo>
                <a:lnTo>
                  <a:pt x="0" y="644"/>
                </a:lnTo>
                <a:lnTo>
                  <a:pt x="394" y="644"/>
                </a:lnTo>
                <a:lnTo>
                  <a:pt x="322" y="573"/>
                </a:lnTo>
                <a:lnTo>
                  <a:pt x="71" y="5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0"/>
          <p:cNvSpPr>
            <a:spLocks noEditPoints="1"/>
          </p:cNvSpPr>
          <p:nvPr/>
        </p:nvSpPr>
        <p:spPr bwMode="auto">
          <a:xfrm>
            <a:off x="11601728" y="1744503"/>
            <a:ext cx="360248" cy="301287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8" name="Freeform 41"/>
          <p:cNvSpPr>
            <a:spLocks/>
          </p:cNvSpPr>
          <p:nvPr/>
        </p:nvSpPr>
        <p:spPr bwMode="auto">
          <a:xfrm>
            <a:off x="11600809" y="4756459"/>
            <a:ext cx="362085" cy="315984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69" name="Группа 68"/>
          <p:cNvGrpSpPr/>
          <p:nvPr/>
        </p:nvGrpSpPr>
        <p:grpSpPr>
          <a:xfrm>
            <a:off x="11614594" y="200960"/>
            <a:ext cx="334516" cy="361915"/>
            <a:chOff x="477468" y="2705515"/>
            <a:chExt cx="409903" cy="443477"/>
          </a:xfrm>
        </p:grpSpPr>
        <p:sp>
          <p:nvSpPr>
            <p:cNvPr id="70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1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72" name="Freeform 44"/>
          <p:cNvSpPr>
            <a:spLocks noEditPoints="1"/>
          </p:cNvSpPr>
          <p:nvPr/>
        </p:nvSpPr>
        <p:spPr bwMode="auto">
          <a:xfrm>
            <a:off x="11606322" y="5464056"/>
            <a:ext cx="351059" cy="380284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3" name="Freeform 45"/>
          <p:cNvSpPr>
            <a:spLocks noEditPoints="1"/>
          </p:cNvSpPr>
          <p:nvPr/>
        </p:nvSpPr>
        <p:spPr bwMode="auto">
          <a:xfrm>
            <a:off x="11601728" y="966788"/>
            <a:ext cx="360248" cy="347216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89" name="Freeform 46"/>
          <p:cNvSpPr>
            <a:spLocks noEditPoints="1"/>
          </p:cNvSpPr>
          <p:nvPr/>
        </p:nvSpPr>
        <p:spPr bwMode="auto">
          <a:xfrm>
            <a:off x="11655949" y="3977824"/>
            <a:ext cx="251807" cy="363751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5" name="Freeform 52"/>
          <p:cNvSpPr>
            <a:spLocks noEditPoints="1"/>
          </p:cNvSpPr>
          <p:nvPr/>
        </p:nvSpPr>
        <p:spPr bwMode="auto">
          <a:xfrm>
            <a:off x="11605404" y="3223075"/>
            <a:ext cx="352896" cy="36375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Freeform 53"/>
          <p:cNvSpPr>
            <a:spLocks noEditPoints="1"/>
          </p:cNvSpPr>
          <p:nvPr/>
        </p:nvSpPr>
        <p:spPr bwMode="auto">
          <a:xfrm>
            <a:off x="11594376" y="6260448"/>
            <a:ext cx="374952" cy="327005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79" name="Группа 78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80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3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4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5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6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7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8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0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1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2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3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4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" name="Прямоугольник 1"/>
          <p:cNvSpPr/>
          <p:nvPr/>
        </p:nvSpPr>
        <p:spPr>
          <a:xfrm>
            <a:off x="2445955" y="83806"/>
            <a:ext cx="814828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rgbClr val="002060"/>
                </a:solidFill>
              </a:rPr>
              <a:t>КОМПОНЕНТЫ УМК </a:t>
            </a:r>
            <a:r>
              <a:rPr lang="ru-RU" b="1" dirty="0">
                <a:solidFill>
                  <a:srgbClr val="002060"/>
                </a:solidFill>
                <a:latin typeface="Carlito"/>
              </a:rPr>
              <a:t>«КЛАССИЧЕСКАЯ ГЕОГРАФИЯ»  </a:t>
            </a:r>
            <a:r>
              <a:rPr lang="ru-RU" sz="2000" b="1" dirty="0">
                <a:solidFill>
                  <a:srgbClr val="002060"/>
                </a:solidFill>
              </a:rPr>
              <a:t>5-9классы</a:t>
            </a:r>
          </a:p>
        </p:txBody>
      </p:sp>
      <p:pic>
        <p:nvPicPr>
          <p:cNvPr id="75" name="Рисунок 7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386" y="2443610"/>
            <a:ext cx="1799712" cy="2307779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76" name="Рисунок 7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8757" y="1946338"/>
            <a:ext cx="1841522" cy="2361394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77" name="Рисунок 76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7096" y="1549898"/>
            <a:ext cx="1822999" cy="2337639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8" name="Прямоугольник 7"/>
          <p:cNvSpPr/>
          <p:nvPr/>
        </p:nvSpPr>
        <p:spPr>
          <a:xfrm>
            <a:off x="1249503" y="1026815"/>
            <a:ext cx="286495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77165" marR="723265">
              <a:lnSpc>
                <a:spcPct val="100000"/>
              </a:lnSpc>
              <a:spcBef>
                <a:spcPts val="710"/>
              </a:spcBef>
            </a:pPr>
            <a:r>
              <a:rPr lang="ru-RU" sz="1600" b="1" dirty="0">
                <a:latin typeface="Carlito"/>
                <a:cs typeface="Carlito"/>
              </a:rPr>
              <a:t>Ра</a:t>
            </a:r>
            <a:r>
              <a:rPr lang="ru-RU" sz="1600" b="1" spc="-5" dirty="0">
                <a:latin typeface="Carlito"/>
                <a:cs typeface="Carlito"/>
              </a:rPr>
              <a:t>бо</a:t>
            </a:r>
            <a:r>
              <a:rPr lang="ru-RU" sz="1600" b="1" dirty="0">
                <a:latin typeface="Carlito"/>
                <a:cs typeface="Carlito"/>
              </a:rPr>
              <a:t>чие  </a:t>
            </a:r>
            <a:r>
              <a:rPr lang="ru-RU" sz="1600" b="1" spc="-5" dirty="0">
                <a:latin typeface="Carlito"/>
                <a:cs typeface="Carlito"/>
              </a:rPr>
              <a:t>тетради</a:t>
            </a:r>
            <a:endParaRPr lang="ru-RU" sz="1600" b="1" dirty="0">
              <a:latin typeface="Carlito"/>
              <a:cs typeface="Carlito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563519" y="5012680"/>
            <a:ext cx="20345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C00000"/>
                </a:solidFill>
              </a:rPr>
              <a:t>Скоро в продаже</a:t>
            </a:r>
          </a:p>
        </p:txBody>
      </p:sp>
      <p:pic>
        <p:nvPicPr>
          <p:cNvPr id="78" name="Рисунок 77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6003" y="1549898"/>
            <a:ext cx="1793871" cy="2406082"/>
          </a:xfrm>
          <a:prstGeom prst="rect">
            <a:avLst/>
          </a:prstGeom>
        </p:spPr>
      </p:pic>
      <p:pic>
        <p:nvPicPr>
          <p:cNvPr id="97" name="Рисунок 96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0847" y="1839680"/>
            <a:ext cx="1748919" cy="2345789"/>
          </a:xfrm>
          <a:prstGeom prst="rect">
            <a:avLst/>
          </a:prstGeom>
        </p:spPr>
      </p:pic>
      <p:pic>
        <p:nvPicPr>
          <p:cNvPr id="98" name="Рисунок 97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3779" y="2408281"/>
            <a:ext cx="1732857" cy="2324244"/>
          </a:xfrm>
          <a:prstGeom prst="rect">
            <a:avLst/>
          </a:prstGeom>
        </p:spPr>
      </p:pic>
      <p:sp>
        <p:nvSpPr>
          <p:cNvPr id="99" name="object 62"/>
          <p:cNvSpPr txBox="1"/>
          <p:nvPr/>
        </p:nvSpPr>
        <p:spPr>
          <a:xfrm>
            <a:off x="5967417" y="1027834"/>
            <a:ext cx="5838330" cy="338554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marL="177165" marR="723265">
              <a:lnSpc>
                <a:spcPct val="100000"/>
              </a:lnSpc>
              <a:spcBef>
                <a:spcPts val="710"/>
              </a:spcBef>
              <a:defRPr sz="1600" b="1">
                <a:latin typeface="Carlito"/>
                <a:cs typeface="Carlito"/>
              </a:defRPr>
            </a:lvl1pPr>
          </a:lstStyle>
          <a:p>
            <a:r>
              <a:rPr dirty="0" err="1"/>
              <a:t>Методические</a:t>
            </a:r>
            <a:r>
              <a:rPr lang="ru-RU" dirty="0"/>
              <a:t> п</a:t>
            </a:r>
            <a:r>
              <a:rPr dirty="0" err="1"/>
              <a:t>особия</a:t>
            </a:r>
            <a:r>
              <a:rPr lang="ru-RU" dirty="0"/>
              <a:t> с рабочей программой</a:t>
            </a:r>
            <a:endParaRPr dirty="0"/>
          </a:p>
        </p:txBody>
      </p:sp>
      <p:sp>
        <p:nvSpPr>
          <p:cNvPr id="100" name="object 52"/>
          <p:cNvSpPr/>
          <p:nvPr/>
        </p:nvSpPr>
        <p:spPr>
          <a:xfrm>
            <a:off x="6606391" y="5000660"/>
            <a:ext cx="192024" cy="242075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1" name="object 53"/>
          <p:cNvSpPr/>
          <p:nvPr/>
        </p:nvSpPr>
        <p:spPr>
          <a:xfrm>
            <a:off x="6495076" y="4909488"/>
            <a:ext cx="414655" cy="424420"/>
          </a:xfrm>
          <a:custGeom>
            <a:avLst/>
            <a:gdLst/>
            <a:ahLst/>
            <a:cxnLst/>
            <a:rect l="l" t="t" r="r" b="b"/>
            <a:pathLst>
              <a:path w="414654" h="411479">
                <a:moveTo>
                  <a:pt x="227838" y="0"/>
                </a:moveTo>
                <a:lnTo>
                  <a:pt x="183769" y="0"/>
                </a:lnTo>
                <a:lnTo>
                  <a:pt x="166116" y="2920"/>
                </a:lnTo>
                <a:lnTo>
                  <a:pt x="126365" y="14604"/>
                </a:lnTo>
                <a:lnTo>
                  <a:pt x="89662" y="33654"/>
                </a:lnTo>
                <a:lnTo>
                  <a:pt x="60325" y="60070"/>
                </a:lnTo>
                <a:lnTo>
                  <a:pt x="33782" y="89280"/>
                </a:lnTo>
                <a:lnTo>
                  <a:pt x="25019" y="106933"/>
                </a:lnTo>
                <a:lnTo>
                  <a:pt x="14732" y="124459"/>
                </a:lnTo>
                <a:lnTo>
                  <a:pt x="8763" y="143509"/>
                </a:lnTo>
                <a:lnTo>
                  <a:pt x="4445" y="162559"/>
                </a:lnTo>
                <a:lnTo>
                  <a:pt x="0" y="183006"/>
                </a:lnTo>
                <a:lnTo>
                  <a:pt x="0" y="226948"/>
                </a:lnTo>
                <a:lnTo>
                  <a:pt x="4445" y="247522"/>
                </a:lnTo>
                <a:lnTo>
                  <a:pt x="8763" y="265048"/>
                </a:lnTo>
                <a:lnTo>
                  <a:pt x="14732" y="284098"/>
                </a:lnTo>
                <a:lnTo>
                  <a:pt x="25019" y="303148"/>
                </a:lnTo>
                <a:lnTo>
                  <a:pt x="33782" y="320674"/>
                </a:lnTo>
                <a:lnTo>
                  <a:pt x="46990" y="336803"/>
                </a:lnTo>
                <a:lnTo>
                  <a:pt x="60325" y="349973"/>
                </a:lnTo>
                <a:lnTo>
                  <a:pt x="74930" y="364616"/>
                </a:lnTo>
                <a:lnTo>
                  <a:pt x="89662" y="376339"/>
                </a:lnTo>
                <a:lnTo>
                  <a:pt x="107315" y="385127"/>
                </a:lnTo>
                <a:lnTo>
                  <a:pt x="126365" y="395376"/>
                </a:lnTo>
                <a:lnTo>
                  <a:pt x="145542" y="402691"/>
                </a:lnTo>
                <a:lnTo>
                  <a:pt x="166116" y="408546"/>
                </a:lnTo>
                <a:lnTo>
                  <a:pt x="183769" y="410019"/>
                </a:lnTo>
                <a:lnTo>
                  <a:pt x="207264" y="411479"/>
                </a:lnTo>
                <a:lnTo>
                  <a:pt x="248412" y="408546"/>
                </a:lnTo>
                <a:lnTo>
                  <a:pt x="267589" y="402691"/>
                </a:lnTo>
                <a:lnTo>
                  <a:pt x="288163" y="395376"/>
                </a:lnTo>
                <a:lnTo>
                  <a:pt x="304292" y="385127"/>
                </a:lnTo>
                <a:lnTo>
                  <a:pt x="310184" y="382193"/>
                </a:lnTo>
                <a:lnTo>
                  <a:pt x="188214" y="382193"/>
                </a:lnTo>
                <a:lnTo>
                  <a:pt x="170561" y="377799"/>
                </a:lnTo>
                <a:lnTo>
                  <a:pt x="154305" y="374865"/>
                </a:lnTo>
                <a:lnTo>
                  <a:pt x="136651" y="369011"/>
                </a:lnTo>
                <a:lnTo>
                  <a:pt x="122047" y="361695"/>
                </a:lnTo>
                <a:lnTo>
                  <a:pt x="107315" y="351447"/>
                </a:lnTo>
                <a:lnTo>
                  <a:pt x="94107" y="342658"/>
                </a:lnTo>
                <a:lnTo>
                  <a:pt x="58800" y="303148"/>
                </a:lnTo>
                <a:lnTo>
                  <a:pt x="35306" y="257682"/>
                </a:lnTo>
                <a:lnTo>
                  <a:pt x="27940" y="204977"/>
                </a:lnTo>
                <a:lnTo>
                  <a:pt x="29337" y="187451"/>
                </a:lnTo>
                <a:lnTo>
                  <a:pt x="32385" y="169925"/>
                </a:lnTo>
                <a:lnTo>
                  <a:pt x="35306" y="153796"/>
                </a:lnTo>
                <a:lnTo>
                  <a:pt x="42672" y="136143"/>
                </a:lnTo>
                <a:lnTo>
                  <a:pt x="51435" y="121538"/>
                </a:lnTo>
                <a:lnTo>
                  <a:pt x="58800" y="106933"/>
                </a:lnTo>
                <a:lnTo>
                  <a:pt x="107315" y="57149"/>
                </a:lnTo>
                <a:lnTo>
                  <a:pt x="154305" y="35178"/>
                </a:lnTo>
                <a:lnTo>
                  <a:pt x="207264" y="27812"/>
                </a:lnTo>
                <a:lnTo>
                  <a:pt x="311919" y="27812"/>
                </a:lnTo>
                <a:lnTo>
                  <a:pt x="304292" y="23367"/>
                </a:lnTo>
                <a:lnTo>
                  <a:pt x="288163" y="14604"/>
                </a:lnTo>
                <a:lnTo>
                  <a:pt x="267589" y="7365"/>
                </a:lnTo>
                <a:lnTo>
                  <a:pt x="248412" y="2920"/>
                </a:lnTo>
                <a:lnTo>
                  <a:pt x="227838" y="0"/>
                </a:lnTo>
                <a:close/>
              </a:path>
              <a:path w="414654" h="411479">
                <a:moveTo>
                  <a:pt x="311919" y="27812"/>
                </a:moveTo>
                <a:lnTo>
                  <a:pt x="207264" y="27812"/>
                </a:lnTo>
                <a:lnTo>
                  <a:pt x="223393" y="29336"/>
                </a:lnTo>
                <a:lnTo>
                  <a:pt x="242570" y="30733"/>
                </a:lnTo>
                <a:lnTo>
                  <a:pt x="260223" y="35178"/>
                </a:lnTo>
                <a:lnTo>
                  <a:pt x="274827" y="42417"/>
                </a:lnTo>
                <a:lnTo>
                  <a:pt x="291084" y="49783"/>
                </a:lnTo>
                <a:lnTo>
                  <a:pt x="304292" y="57149"/>
                </a:lnTo>
                <a:lnTo>
                  <a:pt x="320421" y="68833"/>
                </a:lnTo>
                <a:lnTo>
                  <a:pt x="330708" y="80517"/>
                </a:lnTo>
                <a:lnTo>
                  <a:pt x="343916" y="93725"/>
                </a:lnTo>
                <a:lnTo>
                  <a:pt x="370459" y="136143"/>
                </a:lnTo>
                <a:lnTo>
                  <a:pt x="379222" y="169925"/>
                </a:lnTo>
                <a:lnTo>
                  <a:pt x="383667" y="187451"/>
                </a:lnTo>
                <a:lnTo>
                  <a:pt x="383667" y="222630"/>
                </a:lnTo>
                <a:lnTo>
                  <a:pt x="379222" y="241553"/>
                </a:lnTo>
                <a:lnTo>
                  <a:pt x="376300" y="257682"/>
                </a:lnTo>
                <a:lnTo>
                  <a:pt x="354202" y="303148"/>
                </a:lnTo>
                <a:lnTo>
                  <a:pt x="330708" y="329476"/>
                </a:lnTo>
                <a:lnTo>
                  <a:pt x="320421" y="342658"/>
                </a:lnTo>
                <a:lnTo>
                  <a:pt x="304292" y="351447"/>
                </a:lnTo>
                <a:lnTo>
                  <a:pt x="291084" y="361695"/>
                </a:lnTo>
                <a:lnTo>
                  <a:pt x="274827" y="369011"/>
                </a:lnTo>
                <a:lnTo>
                  <a:pt x="260223" y="374865"/>
                </a:lnTo>
                <a:lnTo>
                  <a:pt x="242570" y="377799"/>
                </a:lnTo>
                <a:lnTo>
                  <a:pt x="223393" y="382193"/>
                </a:lnTo>
                <a:lnTo>
                  <a:pt x="310184" y="382193"/>
                </a:lnTo>
                <a:lnTo>
                  <a:pt x="321945" y="376339"/>
                </a:lnTo>
                <a:lnTo>
                  <a:pt x="338074" y="364616"/>
                </a:lnTo>
                <a:lnTo>
                  <a:pt x="354202" y="349973"/>
                </a:lnTo>
                <a:lnTo>
                  <a:pt x="367538" y="336803"/>
                </a:lnTo>
                <a:lnTo>
                  <a:pt x="377825" y="320674"/>
                </a:lnTo>
                <a:lnTo>
                  <a:pt x="389509" y="303148"/>
                </a:lnTo>
                <a:lnTo>
                  <a:pt x="404241" y="265048"/>
                </a:lnTo>
                <a:lnTo>
                  <a:pt x="410083" y="247522"/>
                </a:lnTo>
                <a:lnTo>
                  <a:pt x="411607" y="226948"/>
                </a:lnTo>
                <a:lnTo>
                  <a:pt x="414527" y="204977"/>
                </a:lnTo>
                <a:lnTo>
                  <a:pt x="411607" y="183006"/>
                </a:lnTo>
                <a:lnTo>
                  <a:pt x="410083" y="162559"/>
                </a:lnTo>
                <a:lnTo>
                  <a:pt x="404241" y="143509"/>
                </a:lnTo>
                <a:lnTo>
                  <a:pt x="389509" y="106933"/>
                </a:lnTo>
                <a:lnTo>
                  <a:pt x="367538" y="74675"/>
                </a:lnTo>
                <a:lnTo>
                  <a:pt x="321945" y="33654"/>
                </a:lnTo>
                <a:lnTo>
                  <a:pt x="311919" y="27812"/>
                </a:lnTo>
                <a:close/>
              </a:path>
            </a:pathLst>
          </a:custGeom>
          <a:solidFill>
            <a:srgbClr val="2E36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2" name="object 23"/>
          <p:cNvSpPr txBox="1"/>
          <p:nvPr/>
        </p:nvSpPr>
        <p:spPr>
          <a:xfrm>
            <a:off x="7078221" y="4899447"/>
            <a:ext cx="3839117" cy="68544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solidFill>
                  <a:srgbClr val="171717"/>
                </a:solidFill>
                <a:latin typeface="Carlito"/>
                <a:cs typeface="Carlito"/>
              </a:rPr>
              <a:t>в электронной </a:t>
            </a:r>
            <a:r>
              <a:rPr sz="1400" dirty="0" err="1">
                <a:solidFill>
                  <a:srgbClr val="171717"/>
                </a:solidFill>
                <a:latin typeface="Carlito"/>
                <a:cs typeface="Carlito"/>
              </a:rPr>
              <a:t>форме</a:t>
            </a:r>
            <a:r>
              <a:rPr sz="1400" dirty="0">
                <a:solidFill>
                  <a:srgbClr val="171717"/>
                </a:solidFill>
                <a:latin typeface="Carlito"/>
                <a:cs typeface="Carlito"/>
              </a:rPr>
              <a:t> </a:t>
            </a:r>
            <a:r>
              <a:rPr sz="1400" dirty="0" err="1">
                <a:solidFill>
                  <a:srgbClr val="171717"/>
                </a:solidFill>
                <a:latin typeface="Carlito"/>
                <a:cs typeface="Carlito"/>
              </a:rPr>
              <a:t>на</a:t>
            </a:r>
            <a:r>
              <a:rPr sz="1400" dirty="0">
                <a:solidFill>
                  <a:srgbClr val="171717"/>
                </a:solidFill>
                <a:latin typeface="Carlito"/>
                <a:cs typeface="Carlito"/>
              </a:rPr>
              <a:t> </a:t>
            </a:r>
            <a:r>
              <a:rPr sz="1400" dirty="0" err="1">
                <a:solidFill>
                  <a:srgbClr val="171717"/>
                </a:solidFill>
                <a:latin typeface="Carlito"/>
                <a:cs typeface="Carlito"/>
              </a:rPr>
              <a:t>сайте</a:t>
            </a:r>
            <a:endParaRPr lang="ru-RU" sz="1400" dirty="0">
              <a:solidFill>
                <a:srgbClr val="171717"/>
              </a:solidFill>
              <a:latin typeface="Carlito"/>
              <a:cs typeface="Carlito"/>
            </a:endParaRPr>
          </a:p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ru-RU" sz="1400" dirty="0">
                <a:solidFill>
                  <a:srgbClr val="171717"/>
                </a:solidFill>
                <a:latin typeface="Carlito"/>
                <a:cs typeface="Carlito"/>
              </a:rPr>
              <a:t>доступно для скачивания с марта 2021 г.</a:t>
            </a:r>
          </a:p>
          <a:p>
            <a:pPr marL="12700">
              <a:spcBef>
                <a:spcPts val="105"/>
              </a:spcBef>
            </a:pPr>
            <a:r>
              <a:rPr sz="1400" spc="-114" dirty="0">
                <a:solidFill>
                  <a:srgbClr val="2C3493"/>
                </a:solidFill>
                <a:latin typeface="Carlito"/>
                <a:cs typeface="Carlito"/>
              </a:rPr>
              <a:t> </a:t>
            </a:r>
            <a:endParaRPr sz="1200" dirty="0">
              <a:latin typeface="Carlito"/>
              <a:cs typeface="Carlito"/>
            </a:endParaRPr>
          </a:p>
        </p:txBody>
      </p:sp>
      <p:cxnSp>
        <p:nvCxnSpPr>
          <p:cNvPr id="103" name="Прямая соединительная линия 102"/>
          <p:cNvCxnSpPr/>
          <p:nvPr/>
        </p:nvCxnSpPr>
        <p:spPr>
          <a:xfrm>
            <a:off x="1669002" y="633520"/>
            <a:ext cx="9706667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1058811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Рисунок 39" descr="cover1__w220 (12)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474950" y="4069336"/>
            <a:ext cx="1338458" cy="178929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Прямоугольник 3"/>
          <p:cNvSpPr/>
          <p:nvPr/>
        </p:nvSpPr>
        <p:spPr>
          <a:xfrm>
            <a:off x="1736460" y="185287"/>
            <a:ext cx="895280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</a:rPr>
              <a:t>АТЛАСЫ И КОНТУРНЫЕ КАРТЫ. Традиционный комплект (РГО)</a:t>
            </a:r>
          </a:p>
        </p:txBody>
      </p:sp>
      <p:grpSp>
        <p:nvGrpSpPr>
          <p:cNvPr id="5" name="Группа 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0" name="Прямая соединительная линия 19"/>
          <p:cNvCxnSpPr/>
          <p:nvPr/>
        </p:nvCxnSpPr>
        <p:spPr>
          <a:xfrm>
            <a:off x="1669002" y="633520"/>
            <a:ext cx="9706667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AutoShape 4"/>
          <p:cNvSpPr>
            <a:spLocks noChangeAspect="1" noChangeArrowheads="1" noTextEdit="1"/>
          </p:cNvSpPr>
          <p:nvPr/>
        </p:nvSpPr>
        <p:spPr bwMode="auto">
          <a:xfrm>
            <a:off x="5844301" y="1808388"/>
            <a:ext cx="918665" cy="317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2443186" y="633520"/>
            <a:ext cx="870117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b="1" dirty="0">
                <a:solidFill>
                  <a:srgbClr val="0073B8"/>
                </a:solidFill>
                <a:latin typeface="Carlito"/>
                <a:ea typeface="Cambria Math" pitchFamily="18" charset="0"/>
                <a:cs typeface="Times New Roman" pitchFamily="18" charset="0"/>
              </a:rPr>
              <a:t>Атласы и контурные карты прошли рецензирование и получили рекомендацию РГО. </a:t>
            </a:r>
          </a:p>
          <a:p>
            <a:pPr algn="just"/>
            <a:endParaRPr lang="ru-RU" sz="1400" dirty="0">
              <a:solidFill>
                <a:srgbClr val="0073B8"/>
              </a:solidFill>
              <a:latin typeface="Times New Roman" pitchFamily="18" charset="0"/>
              <a:ea typeface="Cambria Math" pitchFamily="18" charset="0"/>
              <a:cs typeface="Times New Roman" pitchFamily="18" charset="0"/>
            </a:endParaRPr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32627" y="675372"/>
            <a:ext cx="657266" cy="495973"/>
          </a:xfrm>
          <a:prstGeom prst="rect">
            <a:avLst/>
          </a:prstGeom>
        </p:spPr>
      </p:pic>
      <p:sp>
        <p:nvSpPr>
          <p:cNvPr id="29" name="Прямоугольник 28"/>
          <p:cNvSpPr/>
          <p:nvPr/>
        </p:nvSpPr>
        <p:spPr>
          <a:xfrm>
            <a:off x="5145803" y="1290047"/>
            <a:ext cx="5460024" cy="512448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600" b="1" i="1" dirty="0"/>
              <a:t>При обновлении атласов учтены пожелания учителей и замечания методистов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/>
              <a:t>Ряд уже существующих карт увеличен в размерах для большей наглядности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/>
              <a:t>В атласе 7 класса «Физическая карта мира» имеет градусную сеть с шагом в 20°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/>
              <a:t>рекомендованы для подготовки к ВПР, ОГЭ, ЕГЭ и при  подготовке к предметным олимпиадам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/>
              <a:t>В атлас 10-11 классов добавлены новые карты: «Международная торговля и инвестиции»,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/>
              <a:t>«Мировой туризм»,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/>
              <a:t> «Трубопроводный транспорт»,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/>
              <a:t> «Россия в мире»,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/>
              <a:t>«Продовольственная проблема»,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/>
              <a:t>«Международная интеграция»,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/>
              <a:t>экономическая карта «Африка»,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/>
              <a:t>экономическая карта «Южная Америка». </a:t>
            </a:r>
          </a:p>
        </p:txBody>
      </p:sp>
      <p:pic>
        <p:nvPicPr>
          <p:cNvPr id="30" name="Рисунок 29" descr="cover1__w220 (9)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144179" y="4261149"/>
            <a:ext cx="1706168" cy="225679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2" name="Picture 2" descr="C:\Documents and Settings\Admin\Мои документы\Мои рисунки\cover1__w220 (25)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40135" y="1322498"/>
            <a:ext cx="1379336" cy="182448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3" name="Рисунок 32" descr="cover1__w220 (15)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812384" y="1730878"/>
            <a:ext cx="1628360" cy="215387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4" name="Рисунок 33" descr="cover1__w220 (14)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895908" y="1402661"/>
            <a:ext cx="1443647" cy="190955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5" name="Рисунок 34" descr="cover1__w220 (16).jp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3213948" y="1953570"/>
            <a:ext cx="1580771" cy="209092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8" name="Рисунок 3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 bwMode="auto">
          <a:xfrm>
            <a:off x="11442019" y="-21486"/>
            <a:ext cx="847538" cy="6879486"/>
          </a:xfrm>
          <a:prstGeom prst="rect">
            <a:avLst/>
          </a:prstGeom>
        </p:spPr>
      </p:pic>
      <p:pic>
        <p:nvPicPr>
          <p:cNvPr id="39" name="Рисунок 38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432071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6666" name="Picture 106" descr="География России. Хозяйство и географические районы. 9 класс. Учебник.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4472" y="1800108"/>
            <a:ext cx="1953159" cy="2584681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584"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xmlns="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11375669" y="2257824"/>
            <a:ext cx="812363" cy="754751"/>
          </a:xfrm>
          <a:prstGeom prst="rect">
            <a:avLst/>
          </a:prstGeom>
          <a:solidFill>
            <a:srgbClr val="40D4E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3"/>
          <p:cNvSpPr>
            <a:spLocks noChangeArrowheads="1"/>
          </p:cNvSpPr>
          <p:nvPr/>
        </p:nvSpPr>
        <p:spPr bwMode="auto">
          <a:xfrm>
            <a:off x="11375669" y="5276823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4"/>
          <p:cNvSpPr>
            <a:spLocks noChangeArrowheads="1"/>
          </p:cNvSpPr>
          <p:nvPr/>
        </p:nvSpPr>
        <p:spPr bwMode="auto">
          <a:xfrm>
            <a:off x="11376586" y="4522072"/>
            <a:ext cx="812363" cy="754751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17"/>
          <p:cNvSpPr>
            <a:spLocks noChangeArrowheads="1"/>
          </p:cNvSpPr>
          <p:nvPr/>
        </p:nvSpPr>
        <p:spPr bwMode="auto">
          <a:xfrm>
            <a:off x="11375670" y="-4589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19"/>
          <p:cNvSpPr>
            <a:spLocks noChangeArrowheads="1"/>
          </p:cNvSpPr>
          <p:nvPr/>
        </p:nvSpPr>
        <p:spPr bwMode="auto">
          <a:xfrm>
            <a:off x="11376586" y="3012572"/>
            <a:ext cx="812363" cy="754751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1"/>
          <p:cNvSpPr>
            <a:spLocks noChangeArrowheads="1"/>
          </p:cNvSpPr>
          <p:nvPr/>
        </p:nvSpPr>
        <p:spPr bwMode="auto">
          <a:xfrm>
            <a:off x="11376586" y="6031572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2"/>
          <p:cNvSpPr>
            <a:spLocks noChangeArrowheads="1"/>
          </p:cNvSpPr>
          <p:nvPr/>
        </p:nvSpPr>
        <p:spPr bwMode="auto">
          <a:xfrm>
            <a:off x="11375670" y="1502768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2" name="Rectangle 25"/>
          <p:cNvSpPr>
            <a:spLocks noChangeArrowheads="1"/>
          </p:cNvSpPr>
          <p:nvPr/>
        </p:nvSpPr>
        <p:spPr bwMode="auto">
          <a:xfrm>
            <a:off x="11376586" y="3767322"/>
            <a:ext cx="812363" cy="754751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29"/>
          <p:cNvSpPr>
            <a:spLocks noChangeArrowheads="1"/>
          </p:cNvSpPr>
          <p:nvPr/>
        </p:nvSpPr>
        <p:spPr bwMode="auto">
          <a:xfrm>
            <a:off x="11375670" y="748019"/>
            <a:ext cx="812363" cy="754751"/>
          </a:xfrm>
          <a:prstGeom prst="rect">
            <a:avLst/>
          </a:prstGeom>
          <a:solidFill>
            <a:srgbClr val="9ED44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2"/>
          <p:cNvSpPr>
            <a:spLocks noEditPoints="1"/>
          </p:cNvSpPr>
          <p:nvPr/>
        </p:nvSpPr>
        <p:spPr bwMode="auto">
          <a:xfrm>
            <a:off x="11600809" y="2514255"/>
            <a:ext cx="362085" cy="271895"/>
          </a:xfrm>
          <a:custGeom>
            <a:avLst/>
            <a:gdLst>
              <a:gd name="T0" fmla="*/ 787 w 859"/>
              <a:gd name="T1" fmla="*/ 107 h 644"/>
              <a:gd name="T2" fmla="*/ 787 w 859"/>
              <a:gd name="T3" fmla="*/ 573 h 644"/>
              <a:gd name="T4" fmla="*/ 537 w 859"/>
              <a:gd name="T5" fmla="*/ 573 h 644"/>
              <a:gd name="T6" fmla="*/ 465 w 859"/>
              <a:gd name="T7" fmla="*/ 644 h 644"/>
              <a:gd name="T8" fmla="*/ 859 w 859"/>
              <a:gd name="T9" fmla="*/ 644 h 644"/>
              <a:gd name="T10" fmla="*/ 859 w 859"/>
              <a:gd name="T11" fmla="*/ 107 h 644"/>
              <a:gd name="T12" fmla="*/ 787 w 859"/>
              <a:gd name="T13" fmla="*/ 107 h 644"/>
              <a:gd name="T14" fmla="*/ 476 w 859"/>
              <a:gd name="T15" fmla="*/ 476 h 644"/>
              <a:gd name="T16" fmla="*/ 383 w 859"/>
              <a:gd name="T17" fmla="*/ 476 h 644"/>
              <a:gd name="T18" fmla="*/ 373 w 859"/>
              <a:gd name="T19" fmla="*/ 465 h 644"/>
              <a:gd name="T20" fmla="*/ 179 w 859"/>
              <a:gd name="T21" fmla="*/ 465 h 644"/>
              <a:gd name="T22" fmla="*/ 179 w 859"/>
              <a:gd name="T23" fmla="*/ 71 h 644"/>
              <a:gd name="T24" fmla="*/ 344 w 859"/>
              <a:gd name="T25" fmla="*/ 71 h 644"/>
              <a:gd name="T26" fmla="*/ 393 w 859"/>
              <a:gd name="T27" fmla="*/ 96 h 644"/>
              <a:gd name="T28" fmla="*/ 393 w 859"/>
              <a:gd name="T29" fmla="*/ 358 h 644"/>
              <a:gd name="T30" fmla="*/ 465 w 859"/>
              <a:gd name="T31" fmla="*/ 358 h 644"/>
              <a:gd name="T32" fmla="*/ 465 w 859"/>
              <a:gd name="T33" fmla="*/ 96 h 644"/>
              <a:gd name="T34" fmla="*/ 515 w 859"/>
              <a:gd name="T35" fmla="*/ 71 h 644"/>
              <a:gd name="T36" fmla="*/ 680 w 859"/>
              <a:gd name="T37" fmla="*/ 71 h 644"/>
              <a:gd name="T38" fmla="*/ 680 w 859"/>
              <a:gd name="T39" fmla="*/ 465 h 644"/>
              <a:gd name="T40" fmla="*/ 486 w 859"/>
              <a:gd name="T41" fmla="*/ 465 h 644"/>
              <a:gd name="T42" fmla="*/ 476 w 859"/>
              <a:gd name="T43" fmla="*/ 476 h 644"/>
              <a:gd name="T44" fmla="*/ 752 w 859"/>
              <a:gd name="T45" fmla="*/ 537 h 644"/>
              <a:gd name="T46" fmla="*/ 752 w 859"/>
              <a:gd name="T47" fmla="*/ 0 h 644"/>
              <a:gd name="T48" fmla="*/ 486 w 859"/>
              <a:gd name="T49" fmla="*/ 0 h 644"/>
              <a:gd name="T50" fmla="*/ 476 w 859"/>
              <a:gd name="T51" fmla="*/ 10 h 644"/>
              <a:gd name="T52" fmla="*/ 383 w 859"/>
              <a:gd name="T53" fmla="*/ 10 h 644"/>
              <a:gd name="T54" fmla="*/ 373 w 859"/>
              <a:gd name="T55" fmla="*/ 0 h 644"/>
              <a:gd name="T56" fmla="*/ 107 w 859"/>
              <a:gd name="T57" fmla="*/ 0 h 644"/>
              <a:gd name="T58" fmla="*/ 107 w 859"/>
              <a:gd name="T59" fmla="*/ 537 h 644"/>
              <a:gd name="T60" fmla="*/ 344 w 859"/>
              <a:gd name="T61" fmla="*/ 537 h 644"/>
              <a:gd name="T62" fmla="*/ 429 w 859"/>
              <a:gd name="T63" fmla="*/ 566 h 644"/>
              <a:gd name="T64" fmla="*/ 515 w 859"/>
              <a:gd name="T65" fmla="*/ 537 h 644"/>
              <a:gd name="T66" fmla="*/ 752 w 859"/>
              <a:gd name="T67" fmla="*/ 537 h 644"/>
              <a:gd name="T68" fmla="*/ 71 w 859"/>
              <a:gd name="T69" fmla="*/ 573 h 644"/>
              <a:gd name="T70" fmla="*/ 71 w 859"/>
              <a:gd name="T71" fmla="*/ 107 h 644"/>
              <a:gd name="T72" fmla="*/ 0 w 859"/>
              <a:gd name="T73" fmla="*/ 107 h 644"/>
              <a:gd name="T74" fmla="*/ 0 w 859"/>
              <a:gd name="T75" fmla="*/ 644 h 644"/>
              <a:gd name="T76" fmla="*/ 394 w 859"/>
              <a:gd name="T77" fmla="*/ 644 h 644"/>
              <a:gd name="T78" fmla="*/ 322 w 859"/>
              <a:gd name="T79" fmla="*/ 573 h 644"/>
              <a:gd name="T80" fmla="*/ 71 w 859"/>
              <a:gd name="T81" fmla="*/ 573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9" h="644">
                <a:moveTo>
                  <a:pt x="787" y="107"/>
                </a:moveTo>
                <a:lnTo>
                  <a:pt x="787" y="573"/>
                </a:lnTo>
                <a:lnTo>
                  <a:pt x="537" y="573"/>
                </a:lnTo>
                <a:lnTo>
                  <a:pt x="465" y="644"/>
                </a:lnTo>
                <a:lnTo>
                  <a:pt x="859" y="644"/>
                </a:lnTo>
                <a:lnTo>
                  <a:pt x="859" y="107"/>
                </a:lnTo>
                <a:lnTo>
                  <a:pt x="787" y="107"/>
                </a:lnTo>
                <a:close/>
                <a:moveTo>
                  <a:pt x="476" y="476"/>
                </a:moveTo>
                <a:cubicBezTo>
                  <a:pt x="450" y="501"/>
                  <a:pt x="409" y="501"/>
                  <a:pt x="383" y="476"/>
                </a:cubicBezTo>
                <a:lnTo>
                  <a:pt x="373" y="465"/>
                </a:lnTo>
                <a:lnTo>
                  <a:pt x="179" y="465"/>
                </a:lnTo>
                <a:lnTo>
                  <a:pt x="179" y="71"/>
                </a:lnTo>
                <a:lnTo>
                  <a:pt x="344" y="71"/>
                </a:lnTo>
                <a:cubicBezTo>
                  <a:pt x="359" y="71"/>
                  <a:pt x="393" y="91"/>
                  <a:pt x="393" y="96"/>
                </a:cubicBezTo>
                <a:lnTo>
                  <a:pt x="393" y="358"/>
                </a:lnTo>
                <a:lnTo>
                  <a:pt x="465" y="358"/>
                </a:lnTo>
                <a:lnTo>
                  <a:pt x="465" y="96"/>
                </a:lnTo>
                <a:cubicBezTo>
                  <a:pt x="465" y="91"/>
                  <a:pt x="500" y="71"/>
                  <a:pt x="515" y="71"/>
                </a:cubicBezTo>
                <a:lnTo>
                  <a:pt x="680" y="71"/>
                </a:lnTo>
                <a:lnTo>
                  <a:pt x="680" y="465"/>
                </a:lnTo>
                <a:lnTo>
                  <a:pt x="486" y="465"/>
                </a:lnTo>
                <a:lnTo>
                  <a:pt x="476" y="476"/>
                </a:lnTo>
                <a:close/>
                <a:moveTo>
                  <a:pt x="752" y="537"/>
                </a:moveTo>
                <a:lnTo>
                  <a:pt x="752" y="0"/>
                </a:lnTo>
                <a:lnTo>
                  <a:pt x="486" y="0"/>
                </a:lnTo>
                <a:lnTo>
                  <a:pt x="476" y="10"/>
                </a:lnTo>
                <a:cubicBezTo>
                  <a:pt x="450" y="36"/>
                  <a:pt x="409" y="36"/>
                  <a:pt x="383" y="10"/>
                </a:cubicBezTo>
                <a:lnTo>
                  <a:pt x="373" y="0"/>
                </a:lnTo>
                <a:lnTo>
                  <a:pt x="107" y="0"/>
                </a:lnTo>
                <a:lnTo>
                  <a:pt x="107" y="537"/>
                </a:lnTo>
                <a:lnTo>
                  <a:pt x="344" y="537"/>
                </a:lnTo>
                <a:cubicBezTo>
                  <a:pt x="369" y="573"/>
                  <a:pt x="399" y="566"/>
                  <a:pt x="429" y="566"/>
                </a:cubicBezTo>
                <a:cubicBezTo>
                  <a:pt x="460" y="566"/>
                  <a:pt x="490" y="573"/>
                  <a:pt x="515" y="537"/>
                </a:cubicBezTo>
                <a:lnTo>
                  <a:pt x="752" y="537"/>
                </a:lnTo>
                <a:close/>
                <a:moveTo>
                  <a:pt x="71" y="573"/>
                </a:moveTo>
                <a:lnTo>
                  <a:pt x="71" y="107"/>
                </a:lnTo>
                <a:lnTo>
                  <a:pt x="0" y="107"/>
                </a:lnTo>
                <a:lnTo>
                  <a:pt x="0" y="644"/>
                </a:lnTo>
                <a:lnTo>
                  <a:pt x="394" y="644"/>
                </a:lnTo>
                <a:lnTo>
                  <a:pt x="322" y="573"/>
                </a:lnTo>
                <a:lnTo>
                  <a:pt x="71" y="5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0"/>
          <p:cNvSpPr>
            <a:spLocks noEditPoints="1"/>
          </p:cNvSpPr>
          <p:nvPr/>
        </p:nvSpPr>
        <p:spPr bwMode="auto">
          <a:xfrm>
            <a:off x="11601728" y="1744503"/>
            <a:ext cx="360248" cy="301287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8" name="Freeform 41"/>
          <p:cNvSpPr>
            <a:spLocks/>
          </p:cNvSpPr>
          <p:nvPr/>
        </p:nvSpPr>
        <p:spPr bwMode="auto">
          <a:xfrm>
            <a:off x="11600809" y="4756459"/>
            <a:ext cx="362085" cy="315984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69" name="Группа 68"/>
          <p:cNvGrpSpPr/>
          <p:nvPr/>
        </p:nvGrpSpPr>
        <p:grpSpPr>
          <a:xfrm>
            <a:off x="11614594" y="200960"/>
            <a:ext cx="334516" cy="361915"/>
            <a:chOff x="477468" y="2705515"/>
            <a:chExt cx="409903" cy="443477"/>
          </a:xfrm>
        </p:grpSpPr>
        <p:sp>
          <p:nvSpPr>
            <p:cNvPr id="70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1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72" name="Freeform 44"/>
          <p:cNvSpPr>
            <a:spLocks noEditPoints="1"/>
          </p:cNvSpPr>
          <p:nvPr/>
        </p:nvSpPr>
        <p:spPr bwMode="auto">
          <a:xfrm>
            <a:off x="11606322" y="5464056"/>
            <a:ext cx="351059" cy="380284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3" name="Freeform 45"/>
          <p:cNvSpPr>
            <a:spLocks noEditPoints="1"/>
          </p:cNvSpPr>
          <p:nvPr/>
        </p:nvSpPr>
        <p:spPr bwMode="auto">
          <a:xfrm>
            <a:off x="11601728" y="966788"/>
            <a:ext cx="360248" cy="347216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89" name="Freeform 46"/>
          <p:cNvSpPr>
            <a:spLocks noEditPoints="1"/>
          </p:cNvSpPr>
          <p:nvPr/>
        </p:nvSpPr>
        <p:spPr bwMode="auto">
          <a:xfrm>
            <a:off x="11655949" y="3977824"/>
            <a:ext cx="251807" cy="363751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5" name="Freeform 52"/>
          <p:cNvSpPr>
            <a:spLocks noEditPoints="1"/>
          </p:cNvSpPr>
          <p:nvPr/>
        </p:nvSpPr>
        <p:spPr bwMode="auto">
          <a:xfrm>
            <a:off x="11605404" y="3223075"/>
            <a:ext cx="352896" cy="36375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Freeform 53"/>
          <p:cNvSpPr>
            <a:spLocks noEditPoints="1"/>
          </p:cNvSpPr>
          <p:nvPr/>
        </p:nvSpPr>
        <p:spPr bwMode="auto">
          <a:xfrm>
            <a:off x="11594376" y="6260448"/>
            <a:ext cx="374952" cy="327005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115" name="AutoShape 4"/>
          <p:cNvSpPr>
            <a:spLocks noChangeAspect="1" noChangeArrowheads="1" noTextEdit="1"/>
          </p:cNvSpPr>
          <p:nvPr/>
        </p:nvSpPr>
        <p:spPr bwMode="auto">
          <a:xfrm>
            <a:off x="5844301" y="1808388"/>
            <a:ext cx="918665" cy="317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1722029" y="28158"/>
            <a:ext cx="98009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002060"/>
                </a:solidFill>
              </a:rPr>
              <a:t>ЛИНИЯ УМК ПОД РЕД. О. А. КЛИМАНОВОЙ, А. И. АЛЕКСЕЕВА. 5-9 </a:t>
            </a:r>
            <a:r>
              <a:rPr lang="ru-RU" sz="2400" b="1" dirty="0" err="1">
                <a:solidFill>
                  <a:srgbClr val="002060"/>
                </a:solidFill>
              </a:rPr>
              <a:t>кл</a:t>
            </a:r>
            <a:r>
              <a:rPr lang="ru-RU" sz="2400" b="1" dirty="0">
                <a:solidFill>
                  <a:srgbClr val="002060"/>
                </a:solidFill>
              </a:rPr>
              <a:t>.</a:t>
            </a:r>
          </a:p>
        </p:txBody>
      </p: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4241548" y="1576183"/>
            <a:ext cx="6759288" cy="31865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lvl="0"/>
            <a:r>
              <a:rPr lang="ru-RU" sz="1400" b="1" kern="0" dirty="0">
                <a:latin typeface="Carlito"/>
                <a:ea typeface="Calibri"/>
                <a:cs typeface="Times New Roman"/>
              </a:rPr>
              <a:t>       </a:t>
            </a:r>
            <a:r>
              <a:rPr lang="ru-RU" b="1" i="1" kern="0" dirty="0">
                <a:latin typeface="Carlito"/>
                <a:ea typeface="Calibri"/>
                <a:cs typeface="Times New Roman"/>
              </a:rPr>
              <a:t>Ключевые преимущества учебнико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400" b="1" i="1" dirty="0">
              <a:latin typeface="Carlito"/>
            </a:endParaRPr>
          </a:p>
          <a:p>
            <a:pPr marL="342900" indent="-342900">
              <a:lnSpc>
                <a:spcPct val="107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ru-RU" kern="0" dirty="0">
                <a:ea typeface="Calibri"/>
                <a:cs typeface="Times New Roman"/>
              </a:rPr>
              <a:t>реализуется принцип личностно-ориентированного </a:t>
            </a:r>
            <a:r>
              <a:rPr lang="ru-RU" kern="0" dirty="0" err="1">
                <a:ea typeface="Calibri"/>
                <a:cs typeface="Times New Roman"/>
              </a:rPr>
              <a:t>деятельностного</a:t>
            </a:r>
            <a:r>
              <a:rPr lang="ru-RU" kern="0" dirty="0">
                <a:ea typeface="Calibri"/>
                <a:cs typeface="Times New Roman"/>
              </a:rPr>
              <a:t> подхода к усвоению учебного материала</a:t>
            </a:r>
          </a:p>
          <a:p>
            <a:pPr marL="342900" indent="-342900">
              <a:lnSpc>
                <a:spcPct val="107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ru-RU" kern="0" dirty="0">
                <a:ea typeface="Calibri"/>
                <a:cs typeface="Times New Roman"/>
              </a:rPr>
              <a:t>система уроков-практикумов направлена на формирование умений работать с различными источниками информации</a:t>
            </a:r>
          </a:p>
          <a:p>
            <a:pPr marL="342900" indent="-342900">
              <a:lnSpc>
                <a:spcPct val="107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ru-RU" kern="0" dirty="0" err="1">
                <a:ea typeface="Calibri"/>
                <a:cs typeface="Times New Roman"/>
              </a:rPr>
              <a:t>вопросно</a:t>
            </a:r>
            <a:r>
              <a:rPr lang="ru-RU" kern="0" dirty="0">
                <a:ea typeface="Calibri"/>
                <a:cs typeface="Times New Roman"/>
              </a:rPr>
              <a:t> – ответная форма подачи материала позволяет устанавливать активный диалог с учащимися.</a:t>
            </a:r>
          </a:p>
          <a:p>
            <a:pPr marL="342900" indent="-342900">
              <a:lnSpc>
                <a:spcPct val="107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ru-RU" kern="0" dirty="0">
                <a:ea typeface="Calibri"/>
                <a:cs typeface="Times New Roman"/>
              </a:rPr>
              <a:t>в курсе «</a:t>
            </a:r>
            <a:r>
              <a:rPr lang="ru-RU" sz="1600" kern="0" dirty="0">
                <a:ea typeface="Calibri"/>
                <a:cs typeface="Times New Roman"/>
              </a:rPr>
              <a:t>Начальная</a:t>
            </a:r>
            <a:r>
              <a:rPr lang="ru-RU" kern="0" dirty="0">
                <a:ea typeface="Calibri"/>
                <a:cs typeface="Times New Roman"/>
              </a:rPr>
              <a:t> география» 5-6 классы концентрическая подача материала</a:t>
            </a:r>
          </a:p>
        </p:txBody>
      </p:sp>
      <p:grpSp>
        <p:nvGrpSpPr>
          <p:cNvPr id="39" name="Группа 38"/>
          <p:cNvGrpSpPr/>
          <p:nvPr/>
        </p:nvGrpSpPr>
        <p:grpSpPr>
          <a:xfrm>
            <a:off x="240696" y="194745"/>
            <a:ext cx="1395915" cy="553274"/>
            <a:chOff x="254665" y="195486"/>
            <a:chExt cx="951720" cy="329081"/>
          </a:xfrm>
        </p:grpSpPr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0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82" name="Подзаголовок 3"/>
          <p:cNvSpPr txBox="1">
            <a:spLocks/>
          </p:cNvSpPr>
          <p:nvPr/>
        </p:nvSpPr>
        <p:spPr>
          <a:xfrm>
            <a:off x="5507592" y="5303268"/>
            <a:ext cx="2132381" cy="1451081"/>
          </a:xfrm>
          <a:prstGeom prst="rect">
            <a:avLst/>
          </a:prstGeom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3" name="object 28"/>
          <p:cNvSpPr txBox="1"/>
          <p:nvPr/>
        </p:nvSpPr>
        <p:spPr>
          <a:xfrm>
            <a:off x="1098778" y="4647047"/>
            <a:ext cx="2005643" cy="203902"/>
          </a:xfrm>
          <a:prstGeom prst="rect">
            <a:avLst/>
          </a:prstGeom>
          <a:solidFill>
            <a:srgbClr val="2C3493"/>
          </a:solidFill>
        </p:spPr>
        <p:txBody>
          <a:bodyPr vert="horz" wrap="square" lIns="0" tIns="49530" rIns="0" bIns="0" rtlCol="0">
            <a:spAutoFit/>
          </a:bodyPr>
          <a:lstStyle/>
          <a:p>
            <a:pPr marL="1270">
              <a:lnSpc>
                <a:spcPct val="100000"/>
              </a:lnSpc>
              <a:spcBef>
                <a:spcPts val="390"/>
              </a:spcBef>
            </a:pPr>
            <a:r>
              <a:rPr lang="en-US" sz="1000" b="1" spc="-5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1000" b="1" spc="-5" dirty="0">
                <a:solidFill>
                  <a:srgbClr val="FFFFFF"/>
                </a:solidFill>
                <a:latin typeface="Carlito"/>
                <a:cs typeface="Carlito"/>
              </a:rPr>
              <a:t>ФП № 1</a:t>
            </a:r>
            <a:r>
              <a:rPr lang="ru-RU" sz="1000" b="1" spc="-5" dirty="0">
                <a:solidFill>
                  <a:srgbClr val="FFFFFF"/>
                </a:solidFill>
                <a:latin typeface="Carlito"/>
                <a:cs typeface="Carlito"/>
              </a:rPr>
              <a:t>.1</a:t>
            </a:r>
            <a:r>
              <a:rPr sz="1000" b="1" spc="-5" dirty="0">
                <a:solidFill>
                  <a:srgbClr val="FFFFFF"/>
                </a:solidFill>
                <a:latin typeface="Carlito"/>
                <a:cs typeface="Carlito"/>
              </a:rPr>
              <a:t>.2.3.4.2.1</a:t>
            </a:r>
            <a:r>
              <a:rPr sz="1000" b="1" spc="5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1000" b="1" spc="-5" dirty="0">
                <a:solidFill>
                  <a:srgbClr val="FFFFFF"/>
                </a:solidFill>
                <a:latin typeface="Carlito"/>
                <a:cs typeface="Carlito"/>
              </a:rPr>
              <a:t>–</a:t>
            </a:r>
            <a:r>
              <a:rPr lang="en-US" sz="1000" b="1" dirty="0">
                <a:latin typeface="Carlito"/>
                <a:cs typeface="Carlito"/>
              </a:rPr>
              <a:t> </a:t>
            </a:r>
            <a:r>
              <a:rPr sz="1000" b="1" spc="-5" dirty="0">
                <a:solidFill>
                  <a:srgbClr val="FFFFFF"/>
                </a:solidFill>
                <a:latin typeface="Carlito"/>
                <a:cs typeface="Carlito"/>
              </a:rPr>
              <a:t>1</a:t>
            </a:r>
            <a:r>
              <a:rPr lang="ru-RU" sz="1000" b="1" spc="-5" dirty="0">
                <a:solidFill>
                  <a:srgbClr val="FFFFFF"/>
                </a:solidFill>
                <a:latin typeface="Carlito"/>
                <a:cs typeface="Carlito"/>
              </a:rPr>
              <a:t>.1</a:t>
            </a:r>
            <a:r>
              <a:rPr sz="1000" b="1" spc="-5" dirty="0">
                <a:solidFill>
                  <a:srgbClr val="FFFFFF"/>
                </a:solidFill>
                <a:latin typeface="Carlito"/>
                <a:cs typeface="Carlito"/>
              </a:rPr>
              <a:t>.2.3.4.2.4</a:t>
            </a:r>
            <a:endParaRPr lang="en-US" sz="1000" b="1" spc="-5" dirty="0">
              <a:solidFill>
                <a:srgbClr val="FFFFFF"/>
              </a:solidFill>
              <a:latin typeface="Carlito"/>
              <a:cs typeface="Carlito"/>
            </a:endParaRPr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>
            <a:off x="1705294" y="516170"/>
            <a:ext cx="9706667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4544849" y="5801316"/>
            <a:ext cx="4524488" cy="5232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C00000"/>
                </a:solidFill>
              </a:rPr>
              <a:t>Рекомендовано использовать </a:t>
            </a:r>
          </a:p>
          <a:p>
            <a:r>
              <a:rPr lang="ru-RU" sz="1400" b="1" dirty="0">
                <a:solidFill>
                  <a:srgbClr val="002060"/>
                </a:solidFill>
              </a:rPr>
              <a:t>Атласы и контурные карты «Учись быть первым!»</a:t>
            </a:r>
          </a:p>
        </p:txBody>
      </p:sp>
      <p:sp>
        <p:nvSpPr>
          <p:cNvPr id="81" name="Подзаголовок 3"/>
          <p:cNvSpPr txBox="1">
            <a:spLocks/>
          </p:cNvSpPr>
          <p:nvPr/>
        </p:nvSpPr>
        <p:spPr>
          <a:xfrm>
            <a:off x="729495" y="4854984"/>
            <a:ext cx="2369954" cy="1222802"/>
          </a:xfrm>
          <a:prstGeom prst="rect">
            <a:avLst/>
          </a:prstGeom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b="1" dirty="0">
                <a:latin typeface="Calibri" panose="020F0502020204030204" pitchFamily="34" charset="0"/>
                <a:cs typeface="Calibri" panose="020F0502020204030204" pitchFamily="34" charset="0"/>
              </a:rPr>
              <a:t>Состав УМК:</a:t>
            </a:r>
          </a:p>
          <a:p>
            <a:pPr marL="171450" lvl="0" indent="-1714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Поурочные разработки </a:t>
            </a:r>
          </a:p>
          <a:p>
            <a:pPr marL="171450" lvl="0" indent="-1714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рабочая программа</a:t>
            </a:r>
          </a:p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ЭФУ</a:t>
            </a:r>
          </a:p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Рабочие тетради</a:t>
            </a:r>
          </a:p>
        </p:txBody>
      </p:sp>
      <p:pic>
        <p:nvPicPr>
          <p:cNvPr id="66664" name="Picture 104" descr="География. Землеведение. 5-6 классы. Учебник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949" y="1171763"/>
            <a:ext cx="1953708" cy="2585407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2579" name="Picture 3" descr="Изображение География. Атлас. 9 класс">
            <a:extLst>
              <a:ext uri="{FF2B5EF4-FFF2-40B4-BE49-F238E27FC236}">
                <a16:creationId xmlns:a16="http://schemas.microsoft.com/office/drawing/2014/main" xmlns="" id="{781944CA-A163-F54B-A4AC-341798931B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10119" y="4894749"/>
            <a:ext cx="1345161" cy="1813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577973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06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xmlns="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11375669" y="2257824"/>
            <a:ext cx="812363" cy="754751"/>
          </a:xfrm>
          <a:prstGeom prst="rect">
            <a:avLst/>
          </a:prstGeom>
          <a:solidFill>
            <a:srgbClr val="40D4E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3"/>
          <p:cNvSpPr>
            <a:spLocks noChangeArrowheads="1"/>
          </p:cNvSpPr>
          <p:nvPr/>
        </p:nvSpPr>
        <p:spPr bwMode="auto">
          <a:xfrm>
            <a:off x="11375669" y="5276823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4"/>
          <p:cNvSpPr>
            <a:spLocks noChangeArrowheads="1"/>
          </p:cNvSpPr>
          <p:nvPr/>
        </p:nvSpPr>
        <p:spPr bwMode="auto">
          <a:xfrm>
            <a:off x="11376586" y="4522072"/>
            <a:ext cx="812363" cy="754751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17"/>
          <p:cNvSpPr>
            <a:spLocks noChangeArrowheads="1"/>
          </p:cNvSpPr>
          <p:nvPr/>
        </p:nvSpPr>
        <p:spPr bwMode="auto">
          <a:xfrm>
            <a:off x="11375670" y="-4589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19"/>
          <p:cNvSpPr>
            <a:spLocks noChangeArrowheads="1"/>
          </p:cNvSpPr>
          <p:nvPr/>
        </p:nvSpPr>
        <p:spPr bwMode="auto">
          <a:xfrm>
            <a:off x="11376586" y="3012572"/>
            <a:ext cx="812363" cy="754751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1"/>
          <p:cNvSpPr>
            <a:spLocks noChangeArrowheads="1"/>
          </p:cNvSpPr>
          <p:nvPr/>
        </p:nvSpPr>
        <p:spPr bwMode="auto">
          <a:xfrm>
            <a:off x="11376586" y="6031572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2"/>
          <p:cNvSpPr>
            <a:spLocks noChangeArrowheads="1"/>
          </p:cNvSpPr>
          <p:nvPr/>
        </p:nvSpPr>
        <p:spPr bwMode="auto">
          <a:xfrm>
            <a:off x="11375670" y="1502768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2" name="Rectangle 25"/>
          <p:cNvSpPr>
            <a:spLocks noChangeArrowheads="1"/>
          </p:cNvSpPr>
          <p:nvPr/>
        </p:nvSpPr>
        <p:spPr bwMode="auto">
          <a:xfrm>
            <a:off x="11376586" y="3767322"/>
            <a:ext cx="812363" cy="754751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29"/>
          <p:cNvSpPr>
            <a:spLocks noChangeArrowheads="1"/>
          </p:cNvSpPr>
          <p:nvPr/>
        </p:nvSpPr>
        <p:spPr bwMode="auto">
          <a:xfrm>
            <a:off x="11375670" y="748019"/>
            <a:ext cx="812363" cy="754751"/>
          </a:xfrm>
          <a:prstGeom prst="rect">
            <a:avLst/>
          </a:prstGeom>
          <a:solidFill>
            <a:srgbClr val="9ED44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2"/>
          <p:cNvSpPr>
            <a:spLocks noEditPoints="1"/>
          </p:cNvSpPr>
          <p:nvPr/>
        </p:nvSpPr>
        <p:spPr bwMode="auto">
          <a:xfrm>
            <a:off x="11600809" y="2514255"/>
            <a:ext cx="362085" cy="271895"/>
          </a:xfrm>
          <a:custGeom>
            <a:avLst/>
            <a:gdLst>
              <a:gd name="T0" fmla="*/ 787 w 859"/>
              <a:gd name="T1" fmla="*/ 107 h 644"/>
              <a:gd name="T2" fmla="*/ 787 w 859"/>
              <a:gd name="T3" fmla="*/ 573 h 644"/>
              <a:gd name="T4" fmla="*/ 537 w 859"/>
              <a:gd name="T5" fmla="*/ 573 h 644"/>
              <a:gd name="T6" fmla="*/ 465 w 859"/>
              <a:gd name="T7" fmla="*/ 644 h 644"/>
              <a:gd name="T8" fmla="*/ 859 w 859"/>
              <a:gd name="T9" fmla="*/ 644 h 644"/>
              <a:gd name="T10" fmla="*/ 859 w 859"/>
              <a:gd name="T11" fmla="*/ 107 h 644"/>
              <a:gd name="T12" fmla="*/ 787 w 859"/>
              <a:gd name="T13" fmla="*/ 107 h 644"/>
              <a:gd name="T14" fmla="*/ 476 w 859"/>
              <a:gd name="T15" fmla="*/ 476 h 644"/>
              <a:gd name="T16" fmla="*/ 383 w 859"/>
              <a:gd name="T17" fmla="*/ 476 h 644"/>
              <a:gd name="T18" fmla="*/ 373 w 859"/>
              <a:gd name="T19" fmla="*/ 465 h 644"/>
              <a:gd name="T20" fmla="*/ 179 w 859"/>
              <a:gd name="T21" fmla="*/ 465 h 644"/>
              <a:gd name="T22" fmla="*/ 179 w 859"/>
              <a:gd name="T23" fmla="*/ 71 h 644"/>
              <a:gd name="T24" fmla="*/ 344 w 859"/>
              <a:gd name="T25" fmla="*/ 71 h 644"/>
              <a:gd name="T26" fmla="*/ 393 w 859"/>
              <a:gd name="T27" fmla="*/ 96 h 644"/>
              <a:gd name="T28" fmla="*/ 393 w 859"/>
              <a:gd name="T29" fmla="*/ 358 h 644"/>
              <a:gd name="T30" fmla="*/ 465 w 859"/>
              <a:gd name="T31" fmla="*/ 358 h 644"/>
              <a:gd name="T32" fmla="*/ 465 w 859"/>
              <a:gd name="T33" fmla="*/ 96 h 644"/>
              <a:gd name="T34" fmla="*/ 515 w 859"/>
              <a:gd name="T35" fmla="*/ 71 h 644"/>
              <a:gd name="T36" fmla="*/ 680 w 859"/>
              <a:gd name="T37" fmla="*/ 71 h 644"/>
              <a:gd name="T38" fmla="*/ 680 w 859"/>
              <a:gd name="T39" fmla="*/ 465 h 644"/>
              <a:gd name="T40" fmla="*/ 486 w 859"/>
              <a:gd name="T41" fmla="*/ 465 h 644"/>
              <a:gd name="T42" fmla="*/ 476 w 859"/>
              <a:gd name="T43" fmla="*/ 476 h 644"/>
              <a:gd name="T44" fmla="*/ 752 w 859"/>
              <a:gd name="T45" fmla="*/ 537 h 644"/>
              <a:gd name="T46" fmla="*/ 752 w 859"/>
              <a:gd name="T47" fmla="*/ 0 h 644"/>
              <a:gd name="T48" fmla="*/ 486 w 859"/>
              <a:gd name="T49" fmla="*/ 0 h 644"/>
              <a:gd name="T50" fmla="*/ 476 w 859"/>
              <a:gd name="T51" fmla="*/ 10 h 644"/>
              <a:gd name="T52" fmla="*/ 383 w 859"/>
              <a:gd name="T53" fmla="*/ 10 h 644"/>
              <a:gd name="T54" fmla="*/ 373 w 859"/>
              <a:gd name="T55" fmla="*/ 0 h 644"/>
              <a:gd name="T56" fmla="*/ 107 w 859"/>
              <a:gd name="T57" fmla="*/ 0 h 644"/>
              <a:gd name="T58" fmla="*/ 107 w 859"/>
              <a:gd name="T59" fmla="*/ 537 h 644"/>
              <a:gd name="T60" fmla="*/ 344 w 859"/>
              <a:gd name="T61" fmla="*/ 537 h 644"/>
              <a:gd name="T62" fmla="*/ 429 w 859"/>
              <a:gd name="T63" fmla="*/ 566 h 644"/>
              <a:gd name="T64" fmla="*/ 515 w 859"/>
              <a:gd name="T65" fmla="*/ 537 h 644"/>
              <a:gd name="T66" fmla="*/ 752 w 859"/>
              <a:gd name="T67" fmla="*/ 537 h 644"/>
              <a:gd name="T68" fmla="*/ 71 w 859"/>
              <a:gd name="T69" fmla="*/ 573 h 644"/>
              <a:gd name="T70" fmla="*/ 71 w 859"/>
              <a:gd name="T71" fmla="*/ 107 h 644"/>
              <a:gd name="T72" fmla="*/ 0 w 859"/>
              <a:gd name="T73" fmla="*/ 107 h 644"/>
              <a:gd name="T74" fmla="*/ 0 w 859"/>
              <a:gd name="T75" fmla="*/ 644 h 644"/>
              <a:gd name="T76" fmla="*/ 394 w 859"/>
              <a:gd name="T77" fmla="*/ 644 h 644"/>
              <a:gd name="T78" fmla="*/ 322 w 859"/>
              <a:gd name="T79" fmla="*/ 573 h 644"/>
              <a:gd name="T80" fmla="*/ 71 w 859"/>
              <a:gd name="T81" fmla="*/ 573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9" h="644">
                <a:moveTo>
                  <a:pt x="787" y="107"/>
                </a:moveTo>
                <a:lnTo>
                  <a:pt x="787" y="573"/>
                </a:lnTo>
                <a:lnTo>
                  <a:pt x="537" y="573"/>
                </a:lnTo>
                <a:lnTo>
                  <a:pt x="465" y="644"/>
                </a:lnTo>
                <a:lnTo>
                  <a:pt x="859" y="644"/>
                </a:lnTo>
                <a:lnTo>
                  <a:pt x="859" y="107"/>
                </a:lnTo>
                <a:lnTo>
                  <a:pt x="787" y="107"/>
                </a:lnTo>
                <a:close/>
                <a:moveTo>
                  <a:pt x="476" y="476"/>
                </a:moveTo>
                <a:cubicBezTo>
                  <a:pt x="450" y="501"/>
                  <a:pt x="409" y="501"/>
                  <a:pt x="383" y="476"/>
                </a:cubicBezTo>
                <a:lnTo>
                  <a:pt x="373" y="465"/>
                </a:lnTo>
                <a:lnTo>
                  <a:pt x="179" y="465"/>
                </a:lnTo>
                <a:lnTo>
                  <a:pt x="179" y="71"/>
                </a:lnTo>
                <a:lnTo>
                  <a:pt x="344" y="71"/>
                </a:lnTo>
                <a:cubicBezTo>
                  <a:pt x="359" y="71"/>
                  <a:pt x="393" y="91"/>
                  <a:pt x="393" y="96"/>
                </a:cubicBezTo>
                <a:lnTo>
                  <a:pt x="393" y="358"/>
                </a:lnTo>
                <a:lnTo>
                  <a:pt x="465" y="358"/>
                </a:lnTo>
                <a:lnTo>
                  <a:pt x="465" y="96"/>
                </a:lnTo>
                <a:cubicBezTo>
                  <a:pt x="465" y="91"/>
                  <a:pt x="500" y="71"/>
                  <a:pt x="515" y="71"/>
                </a:cubicBezTo>
                <a:lnTo>
                  <a:pt x="680" y="71"/>
                </a:lnTo>
                <a:lnTo>
                  <a:pt x="680" y="465"/>
                </a:lnTo>
                <a:lnTo>
                  <a:pt x="486" y="465"/>
                </a:lnTo>
                <a:lnTo>
                  <a:pt x="476" y="476"/>
                </a:lnTo>
                <a:close/>
                <a:moveTo>
                  <a:pt x="752" y="537"/>
                </a:moveTo>
                <a:lnTo>
                  <a:pt x="752" y="0"/>
                </a:lnTo>
                <a:lnTo>
                  <a:pt x="486" y="0"/>
                </a:lnTo>
                <a:lnTo>
                  <a:pt x="476" y="10"/>
                </a:lnTo>
                <a:cubicBezTo>
                  <a:pt x="450" y="36"/>
                  <a:pt x="409" y="36"/>
                  <a:pt x="383" y="10"/>
                </a:cubicBezTo>
                <a:lnTo>
                  <a:pt x="373" y="0"/>
                </a:lnTo>
                <a:lnTo>
                  <a:pt x="107" y="0"/>
                </a:lnTo>
                <a:lnTo>
                  <a:pt x="107" y="537"/>
                </a:lnTo>
                <a:lnTo>
                  <a:pt x="344" y="537"/>
                </a:lnTo>
                <a:cubicBezTo>
                  <a:pt x="369" y="573"/>
                  <a:pt x="399" y="566"/>
                  <a:pt x="429" y="566"/>
                </a:cubicBezTo>
                <a:cubicBezTo>
                  <a:pt x="460" y="566"/>
                  <a:pt x="490" y="573"/>
                  <a:pt x="515" y="537"/>
                </a:cubicBezTo>
                <a:lnTo>
                  <a:pt x="752" y="537"/>
                </a:lnTo>
                <a:close/>
                <a:moveTo>
                  <a:pt x="71" y="573"/>
                </a:moveTo>
                <a:lnTo>
                  <a:pt x="71" y="107"/>
                </a:lnTo>
                <a:lnTo>
                  <a:pt x="0" y="107"/>
                </a:lnTo>
                <a:lnTo>
                  <a:pt x="0" y="644"/>
                </a:lnTo>
                <a:lnTo>
                  <a:pt x="394" y="644"/>
                </a:lnTo>
                <a:lnTo>
                  <a:pt x="322" y="573"/>
                </a:lnTo>
                <a:lnTo>
                  <a:pt x="71" y="5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0"/>
          <p:cNvSpPr>
            <a:spLocks noEditPoints="1"/>
          </p:cNvSpPr>
          <p:nvPr/>
        </p:nvSpPr>
        <p:spPr bwMode="auto">
          <a:xfrm>
            <a:off x="11601728" y="1744503"/>
            <a:ext cx="360248" cy="301287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8" name="Freeform 41"/>
          <p:cNvSpPr>
            <a:spLocks/>
          </p:cNvSpPr>
          <p:nvPr/>
        </p:nvSpPr>
        <p:spPr bwMode="auto">
          <a:xfrm>
            <a:off x="11600809" y="4756459"/>
            <a:ext cx="362085" cy="315984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69" name="Группа 68"/>
          <p:cNvGrpSpPr/>
          <p:nvPr/>
        </p:nvGrpSpPr>
        <p:grpSpPr>
          <a:xfrm>
            <a:off x="11614594" y="200960"/>
            <a:ext cx="334516" cy="361915"/>
            <a:chOff x="477468" y="2705515"/>
            <a:chExt cx="409903" cy="443477"/>
          </a:xfrm>
        </p:grpSpPr>
        <p:sp>
          <p:nvSpPr>
            <p:cNvPr id="70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1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72" name="Freeform 44"/>
          <p:cNvSpPr>
            <a:spLocks noEditPoints="1"/>
          </p:cNvSpPr>
          <p:nvPr/>
        </p:nvSpPr>
        <p:spPr bwMode="auto">
          <a:xfrm>
            <a:off x="11606322" y="5464056"/>
            <a:ext cx="351059" cy="380284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3" name="Freeform 45"/>
          <p:cNvSpPr>
            <a:spLocks noEditPoints="1"/>
          </p:cNvSpPr>
          <p:nvPr/>
        </p:nvSpPr>
        <p:spPr bwMode="auto">
          <a:xfrm>
            <a:off x="11601728" y="966788"/>
            <a:ext cx="360248" cy="347216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89" name="Freeform 46"/>
          <p:cNvSpPr>
            <a:spLocks noEditPoints="1"/>
          </p:cNvSpPr>
          <p:nvPr/>
        </p:nvSpPr>
        <p:spPr bwMode="auto">
          <a:xfrm>
            <a:off x="11655949" y="3977824"/>
            <a:ext cx="251807" cy="363751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5" name="Freeform 52"/>
          <p:cNvSpPr>
            <a:spLocks noEditPoints="1"/>
          </p:cNvSpPr>
          <p:nvPr/>
        </p:nvSpPr>
        <p:spPr bwMode="auto">
          <a:xfrm>
            <a:off x="11605404" y="3223075"/>
            <a:ext cx="352896" cy="36375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Freeform 53"/>
          <p:cNvSpPr>
            <a:spLocks noEditPoints="1"/>
          </p:cNvSpPr>
          <p:nvPr/>
        </p:nvSpPr>
        <p:spPr bwMode="auto">
          <a:xfrm>
            <a:off x="11594376" y="6260448"/>
            <a:ext cx="374952" cy="327005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115" name="AutoShape 4"/>
          <p:cNvSpPr>
            <a:spLocks noChangeAspect="1" noChangeArrowheads="1" noTextEdit="1"/>
          </p:cNvSpPr>
          <p:nvPr/>
        </p:nvSpPr>
        <p:spPr bwMode="auto">
          <a:xfrm>
            <a:off x="5844301" y="1808388"/>
            <a:ext cx="918665" cy="317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79" name="Группа 78"/>
          <p:cNvGrpSpPr/>
          <p:nvPr/>
        </p:nvGrpSpPr>
        <p:grpSpPr>
          <a:xfrm>
            <a:off x="105665" y="49921"/>
            <a:ext cx="1268960" cy="438775"/>
            <a:chOff x="254665" y="195486"/>
            <a:chExt cx="951720" cy="329081"/>
          </a:xfrm>
        </p:grpSpPr>
        <p:sp>
          <p:nvSpPr>
            <p:cNvPr id="80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3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4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5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6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7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8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0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1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2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3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4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494785"/>
            <a:ext cx="4421068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1758244" y="35018"/>
            <a:ext cx="806047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>
                <a:solidFill>
                  <a:srgbClr val="002060"/>
                </a:solidFill>
              </a:rPr>
              <a:t>Учебник в УМК ПОД РЕД. О. А. КЛИМАНОВОЙ, А. И. АЛЕКСЕЕВА. 5-9 </a:t>
            </a:r>
            <a:r>
              <a:rPr lang="ru-RU" sz="2000" b="1" dirty="0" err="1">
                <a:solidFill>
                  <a:srgbClr val="002060"/>
                </a:solidFill>
              </a:rPr>
              <a:t>кл</a:t>
            </a:r>
            <a:r>
              <a:rPr lang="ru-RU" sz="2000" b="1" dirty="0">
                <a:solidFill>
                  <a:srgbClr val="002060"/>
                </a:solidFill>
              </a:rPr>
              <a:t>.</a:t>
            </a:r>
          </a:p>
        </p:txBody>
      </p:sp>
      <p:cxnSp>
        <p:nvCxnSpPr>
          <p:cNvPr id="53" name="Прямая соединительная линия 52"/>
          <p:cNvCxnSpPr>
            <a:cxnSpLocks/>
          </p:cNvCxnSpPr>
          <p:nvPr/>
        </p:nvCxnSpPr>
        <p:spPr>
          <a:xfrm flipV="1">
            <a:off x="1572768" y="462152"/>
            <a:ext cx="9502952" cy="26544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Рисунок 4">
            <a:extLst>
              <a:ext uri="{FF2B5EF4-FFF2-40B4-BE49-F238E27FC236}">
                <a16:creationId xmlns:a16="http://schemas.microsoft.com/office/drawing/2014/main" xmlns="" id="{75A459C2-4C1A-0D45-871D-5B28FB5689F1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260" b="-426"/>
          <a:stretch/>
        </p:blipFill>
        <p:spPr>
          <a:xfrm>
            <a:off x="109844" y="2919596"/>
            <a:ext cx="5715469" cy="3204951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E13AC8EF-C8B9-1945-A197-6BCF5B2C1C81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5231" y="739521"/>
            <a:ext cx="5715469" cy="4022532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xmlns="" id="{293C9BC3-1B86-1B4C-A985-A9CE364668FD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7184" y="2864873"/>
            <a:ext cx="4045999" cy="3421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58041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30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xmlns="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11375669" y="2257824"/>
            <a:ext cx="812363" cy="754751"/>
          </a:xfrm>
          <a:prstGeom prst="rect">
            <a:avLst/>
          </a:prstGeom>
          <a:solidFill>
            <a:srgbClr val="40D4E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3"/>
          <p:cNvSpPr>
            <a:spLocks noChangeArrowheads="1"/>
          </p:cNvSpPr>
          <p:nvPr/>
        </p:nvSpPr>
        <p:spPr bwMode="auto">
          <a:xfrm>
            <a:off x="11375669" y="5276823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4"/>
          <p:cNvSpPr>
            <a:spLocks noChangeArrowheads="1"/>
          </p:cNvSpPr>
          <p:nvPr/>
        </p:nvSpPr>
        <p:spPr bwMode="auto">
          <a:xfrm>
            <a:off x="11376586" y="4522072"/>
            <a:ext cx="812363" cy="754751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17"/>
          <p:cNvSpPr>
            <a:spLocks noChangeArrowheads="1"/>
          </p:cNvSpPr>
          <p:nvPr/>
        </p:nvSpPr>
        <p:spPr bwMode="auto">
          <a:xfrm>
            <a:off x="11375670" y="-4589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19"/>
          <p:cNvSpPr>
            <a:spLocks noChangeArrowheads="1"/>
          </p:cNvSpPr>
          <p:nvPr/>
        </p:nvSpPr>
        <p:spPr bwMode="auto">
          <a:xfrm>
            <a:off x="11376586" y="3012572"/>
            <a:ext cx="812363" cy="754751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1"/>
          <p:cNvSpPr>
            <a:spLocks noChangeArrowheads="1"/>
          </p:cNvSpPr>
          <p:nvPr/>
        </p:nvSpPr>
        <p:spPr bwMode="auto">
          <a:xfrm>
            <a:off x="11376586" y="6031572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2"/>
          <p:cNvSpPr>
            <a:spLocks noChangeArrowheads="1"/>
          </p:cNvSpPr>
          <p:nvPr/>
        </p:nvSpPr>
        <p:spPr bwMode="auto">
          <a:xfrm>
            <a:off x="11375670" y="1502768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2" name="Rectangle 25"/>
          <p:cNvSpPr>
            <a:spLocks noChangeArrowheads="1"/>
          </p:cNvSpPr>
          <p:nvPr/>
        </p:nvSpPr>
        <p:spPr bwMode="auto">
          <a:xfrm>
            <a:off x="11376586" y="3767322"/>
            <a:ext cx="812363" cy="754751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29"/>
          <p:cNvSpPr>
            <a:spLocks noChangeArrowheads="1"/>
          </p:cNvSpPr>
          <p:nvPr/>
        </p:nvSpPr>
        <p:spPr bwMode="auto">
          <a:xfrm>
            <a:off x="11375670" y="748019"/>
            <a:ext cx="812363" cy="754751"/>
          </a:xfrm>
          <a:prstGeom prst="rect">
            <a:avLst/>
          </a:prstGeom>
          <a:solidFill>
            <a:srgbClr val="9ED44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2"/>
          <p:cNvSpPr>
            <a:spLocks noEditPoints="1"/>
          </p:cNvSpPr>
          <p:nvPr/>
        </p:nvSpPr>
        <p:spPr bwMode="auto">
          <a:xfrm>
            <a:off x="11600809" y="2514255"/>
            <a:ext cx="362085" cy="271895"/>
          </a:xfrm>
          <a:custGeom>
            <a:avLst/>
            <a:gdLst>
              <a:gd name="T0" fmla="*/ 787 w 859"/>
              <a:gd name="T1" fmla="*/ 107 h 644"/>
              <a:gd name="T2" fmla="*/ 787 w 859"/>
              <a:gd name="T3" fmla="*/ 573 h 644"/>
              <a:gd name="T4" fmla="*/ 537 w 859"/>
              <a:gd name="T5" fmla="*/ 573 h 644"/>
              <a:gd name="T6" fmla="*/ 465 w 859"/>
              <a:gd name="T7" fmla="*/ 644 h 644"/>
              <a:gd name="T8" fmla="*/ 859 w 859"/>
              <a:gd name="T9" fmla="*/ 644 h 644"/>
              <a:gd name="T10" fmla="*/ 859 w 859"/>
              <a:gd name="T11" fmla="*/ 107 h 644"/>
              <a:gd name="T12" fmla="*/ 787 w 859"/>
              <a:gd name="T13" fmla="*/ 107 h 644"/>
              <a:gd name="T14" fmla="*/ 476 w 859"/>
              <a:gd name="T15" fmla="*/ 476 h 644"/>
              <a:gd name="T16" fmla="*/ 383 w 859"/>
              <a:gd name="T17" fmla="*/ 476 h 644"/>
              <a:gd name="T18" fmla="*/ 373 w 859"/>
              <a:gd name="T19" fmla="*/ 465 h 644"/>
              <a:gd name="T20" fmla="*/ 179 w 859"/>
              <a:gd name="T21" fmla="*/ 465 h 644"/>
              <a:gd name="T22" fmla="*/ 179 w 859"/>
              <a:gd name="T23" fmla="*/ 71 h 644"/>
              <a:gd name="T24" fmla="*/ 344 w 859"/>
              <a:gd name="T25" fmla="*/ 71 h 644"/>
              <a:gd name="T26" fmla="*/ 393 w 859"/>
              <a:gd name="T27" fmla="*/ 96 h 644"/>
              <a:gd name="T28" fmla="*/ 393 w 859"/>
              <a:gd name="T29" fmla="*/ 358 h 644"/>
              <a:gd name="T30" fmla="*/ 465 w 859"/>
              <a:gd name="T31" fmla="*/ 358 h 644"/>
              <a:gd name="T32" fmla="*/ 465 w 859"/>
              <a:gd name="T33" fmla="*/ 96 h 644"/>
              <a:gd name="T34" fmla="*/ 515 w 859"/>
              <a:gd name="T35" fmla="*/ 71 h 644"/>
              <a:gd name="T36" fmla="*/ 680 w 859"/>
              <a:gd name="T37" fmla="*/ 71 h 644"/>
              <a:gd name="T38" fmla="*/ 680 w 859"/>
              <a:gd name="T39" fmla="*/ 465 h 644"/>
              <a:gd name="T40" fmla="*/ 486 w 859"/>
              <a:gd name="T41" fmla="*/ 465 h 644"/>
              <a:gd name="T42" fmla="*/ 476 w 859"/>
              <a:gd name="T43" fmla="*/ 476 h 644"/>
              <a:gd name="T44" fmla="*/ 752 w 859"/>
              <a:gd name="T45" fmla="*/ 537 h 644"/>
              <a:gd name="T46" fmla="*/ 752 w 859"/>
              <a:gd name="T47" fmla="*/ 0 h 644"/>
              <a:gd name="T48" fmla="*/ 486 w 859"/>
              <a:gd name="T49" fmla="*/ 0 h 644"/>
              <a:gd name="T50" fmla="*/ 476 w 859"/>
              <a:gd name="T51" fmla="*/ 10 h 644"/>
              <a:gd name="T52" fmla="*/ 383 w 859"/>
              <a:gd name="T53" fmla="*/ 10 h 644"/>
              <a:gd name="T54" fmla="*/ 373 w 859"/>
              <a:gd name="T55" fmla="*/ 0 h 644"/>
              <a:gd name="T56" fmla="*/ 107 w 859"/>
              <a:gd name="T57" fmla="*/ 0 h 644"/>
              <a:gd name="T58" fmla="*/ 107 w 859"/>
              <a:gd name="T59" fmla="*/ 537 h 644"/>
              <a:gd name="T60" fmla="*/ 344 w 859"/>
              <a:gd name="T61" fmla="*/ 537 h 644"/>
              <a:gd name="T62" fmla="*/ 429 w 859"/>
              <a:gd name="T63" fmla="*/ 566 h 644"/>
              <a:gd name="T64" fmla="*/ 515 w 859"/>
              <a:gd name="T65" fmla="*/ 537 h 644"/>
              <a:gd name="T66" fmla="*/ 752 w 859"/>
              <a:gd name="T67" fmla="*/ 537 h 644"/>
              <a:gd name="T68" fmla="*/ 71 w 859"/>
              <a:gd name="T69" fmla="*/ 573 h 644"/>
              <a:gd name="T70" fmla="*/ 71 w 859"/>
              <a:gd name="T71" fmla="*/ 107 h 644"/>
              <a:gd name="T72" fmla="*/ 0 w 859"/>
              <a:gd name="T73" fmla="*/ 107 h 644"/>
              <a:gd name="T74" fmla="*/ 0 w 859"/>
              <a:gd name="T75" fmla="*/ 644 h 644"/>
              <a:gd name="T76" fmla="*/ 394 w 859"/>
              <a:gd name="T77" fmla="*/ 644 h 644"/>
              <a:gd name="T78" fmla="*/ 322 w 859"/>
              <a:gd name="T79" fmla="*/ 573 h 644"/>
              <a:gd name="T80" fmla="*/ 71 w 859"/>
              <a:gd name="T81" fmla="*/ 573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9" h="644">
                <a:moveTo>
                  <a:pt x="787" y="107"/>
                </a:moveTo>
                <a:lnTo>
                  <a:pt x="787" y="573"/>
                </a:lnTo>
                <a:lnTo>
                  <a:pt x="537" y="573"/>
                </a:lnTo>
                <a:lnTo>
                  <a:pt x="465" y="644"/>
                </a:lnTo>
                <a:lnTo>
                  <a:pt x="859" y="644"/>
                </a:lnTo>
                <a:lnTo>
                  <a:pt x="859" y="107"/>
                </a:lnTo>
                <a:lnTo>
                  <a:pt x="787" y="107"/>
                </a:lnTo>
                <a:close/>
                <a:moveTo>
                  <a:pt x="476" y="476"/>
                </a:moveTo>
                <a:cubicBezTo>
                  <a:pt x="450" y="501"/>
                  <a:pt x="409" y="501"/>
                  <a:pt x="383" y="476"/>
                </a:cubicBezTo>
                <a:lnTo>
                  <a:pt x="373" y="465"/>
                </a:lnTo>
                <a:lnTo>
                  <a:pt x="179" y="465"/>
                </a:lnTo>
                <a:lnTo>
                  <a:pt x="179" y="71"/>
                </a:lnTo>
                <a:lnTo>
                  <a:pt x="344" y="71"/>
                </a:lnTo>
                <a:cubicBezTo>
                  <a:pt x="359" y="71"/>
                  <a:pt x="393" y="91"/>
                  <a:pt x="393" y="96"/>
                </a:cubicBezTo>
                <a:lnTo>
                  <a:pt x="393" y="358"/>
                </a:lnTo>
                <a:lnTo>
                  <a:pt x="465" y="358"/>
                </a:lnTo>
                <a:lnTo>
                  <a:pt x="465" y="96"/>
                </a:lnTo>
                <a:cubicBezTo>
                  <a:pt x="465" y="91"/>
                  <a:pt x="500" y="71"/>
                  <a:pt x="515" y="71"/>
                </a:cubicBezTo>
                <a:lnTo>
                  <a:pt x="680" y="71"/>
                </a:lnTo>
                <a:lnTo>
                  <a:pt x="680" y="465"/>
                </a:lnTo>
                <a:lnTo>
                  <a:pt x="486" y="465"/>
                </a:lnTo>
                <a:lnTo>
                  <a:pt x="476" y="476"/>
                </a:lnTo>
                <a:close/>
                <a:moveTo>
                  <a:pt x="752" y="537"/>
                </a:moveTo>
                <a:lnTo>
                  <a:pt x="752" y="0"/>
                </a:lnTo>
                <a:lnTo>
                  <a:pt x="486" y="0"/>
                </a:lnTo>
                <a:lnTo>
                  <a:pt x="476" y="10"/>
                </a:lnTo>
                <a:cubicBezTo>
                  <a:pt x="450" y="36"/>
                  <a:pt x="409" y="36"/>
                  <a:pt x="383" y="10"/>
                </a:cubicBezTo>
                <a:lnTo>
                  <a:pt x="373" y="0"/>
                </a:lnTo>
                <a:lnTo>
                  <a:pt x="107" y="0"/>
                </a:lnTo>
                <a:lnTo>
                  <a:pt x="107" y="537"/>
                </a:lnTo>
                <a:lnTo>
                  <a:pt x="344" y="537"/>
                </a:lnTo>
                <a:cubicBezTo>
                  <a:pt x="369" y="573"/>
                  <a:pt x="399" y="566"/>
                  <a:pt x="429" y="566"/>
                </a:cubicBezTo>
                <a:cubicBezTo>
                  <a:pt x="460" y="566"/>
                  <a:pt x="490" y="573"/>
                  <a:pt x="515" y="537"/>
                </a:cubicBezTo>
                <a:lnTo>
                  <a:pt x="752" y="537"/>
                </a:lnTo>
                <a:close/>
                <a:moveTo>
                  <a:pt x="71" y="573"/>
                </a:moveTo>
                <a:lnTo>
                  <a:pt x="71" y="107"/>
                </a:lnTo>
                <a:lnTo>
                  <a:pt x="0" y="107"/>
                </a:lnTo>
                <a:lnTo>
                  <a:pt x="0" y="644"/>
                </a:lnTo>
                <a:lnTo>
                  <a:pt x="394" y="644"/>
                </a:lnTo>
                <a:lnTo>
                  <a:pt x="322" y="573"/>
                </a:lnTo>
                <a:lnTo>
                  <a:pt x="71" y="5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0"/>
          <p:cNvSpPr>
            <a:spLocks noEditPoints="1"/>
          </p:cNvSpPr>
          <p:nvPr/>
        </p:nvSpPr>
        <p:spPr bwMode="auto">
          <a:xfrm>
            <a:off x="11601728" y="1744503"/>
            <a:ext cx="360248" cy="301287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8" name="Freeform 41"/>
          <p:cNvSpPr>
            <a:spLocks/>
          </p:cNvSpPr>
          <p:nvPr/>
        </p:nvSpPr>
        <p:spPr bwMode="auto">
          <a:xfrm>
            <a:off x="11600809" y="4756459"/>
            <a:ext cx="362085" cy="315984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69" name="Группа 68"/>
          <p:cNvGrpSpPr/>
          <p:nvPr/>
        </p:nvGrpSpPr>
        <p:grpSpPr>
          <a:xfrm>
            <a:off x="11614594" y="200960"/>
            <a:ext cx="334516" cy="361915"/>
            <a:chOff x="477468" y="2705515"/>
            <a:chExt cx="409903" cy="443477"/>
          </a:xfrm>
        </p:grpSpPr>
        <p:sp>
          <p:nvSpPr>
            <p:cNvPr id="70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1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72" name="Freeform 44"/>
          <p:cNvSpPr>
            <a:spLocks noEditPoints="1"/>
          </p:cNvSpPr>
          <p:nvPr/>
        </p:nvSpPr>
        <p:spPr bwMode="auto">
          <a:xfrm>
            <a:off x="11606322" y="5464056"/>
            <a:ext cx="351059" cy="380284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3" name="Freeform 45"/>
          <p:cNvSpPr>
            <a:spLocks noEditPoints="1"/>
          </p:cNvSpPr>
          <p:nvPr/>
        </p:nvSpPr>
        <p:spPr bwMode="auto">
          <a:xfrm>
            <a:off x="11601728" y="966788"/>
            <a:ext cx="360248" cy="347216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89" name="Freeform 46"/>
          <p:cNvSpPr>
            <a:spLocks noEditPoints="1"/>
          </p:cNvSpPr>
          <p:nvPr/>
        </p:nvSpPr>
        <p:spPr bwMode="auto">
          <a:xfrm>
            <a:off x="11655949" y="3977824"/>
            <a:ext cx="251807" cy="363751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5" name="Freeform 52"/>
          <p:cNvSpPr>
            <a:spLocks noEditPoints="1"/>
          </p:cNvSpPr>
          <p:nvPr/>
        </p:nvSpPr>
        <p:spPr bwMode="auto">
          <a:xfrm>
            <a:off x="11605404" y="3223075"/>
            <a:ext cx="352896" cy="36375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Freeform 53"/>
          <p:cNvSpPr>
            <a:spLocks noEditPoints="1"/>
          </p:cNvSpPr>
          <p:nvPr/>
        </p:nvSpPr>
        <p:spPr bwMode="auto">
          <a:xfrm>
            <a:off x="11594376" y="6260448"/>
            <a:ext cx="374952" cy="327005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115" name="AutoShape 4"/>
          <p:cNvSpPr>
            <a:spLocks noChangeAspect="1" noChangeArrowheads="1" noTextEdit="1"/>
          </p:cNvSpPr>
          <p:nvPr/>
        </p:nvSpPr>
        <p:spPr bwMode="auto">
          <a:xfrm>
            <a:off x="5844301" y="1808388"/>
            <a:ext cx="918665" cy="317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79" name="Группа 78"/>
          <p:cNvGrpSpPr/>
          <p:nvPr/>
        </p:nvGrpSpPr>
        <p:grpSpPr>
          <a:xfrm>
            <a:off x="105665" y="49921"/>
            <a:ext cx="1268960" cy="438775"/>
            <a:chOff x="254665" y="195486"/>
            <a:chExt cx="951720" cy="329081"/>
          </a:xfrm>
        </p:grpSpPr>
        <p:sp>
          <p:nvSpPr>
            <p:cNvPr id="80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3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4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5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6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7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8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0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1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2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3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4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494785"/>
            <a:ext cx="4421068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5" name="Picture 6" descr="Изображение География. 9 класс. География России. Хозяйство и географические районы. Рабочая тетрадь с тест. заданиями ЕГЭ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8216" y="2467292"/>
            <a:ext cx="1792774" cy="248644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7" name="Picture 2" descr="Изображение География. Землеведение. 5 класс. Рабочая тетрадь к учебнику О.А. Климановой , В.В. Климанова , Э.В. Ким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684" y="1553123"/>
            <a:ext cx="1799572" cy="249587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0" name="Picture 8" descr="http://qrcoder.ru/code/?https%3A%2F%2Fshop.prosv.ru%2Fkatalog%3FFilterByArrtibuteId%3D6%21101379&amp;10&amp;0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3288" y="1560688"/>
            <a:ext cx="2147451" cy="21474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Прямоугольник 50"/>
          <p:cNvSpPr/>
          <p:nvPr/>
        </p:nvSpPr>
        <p:spPr>
          <a:xfrm>
            <a:off x="2256256" y="34873"/>
            <a:ext cx="861935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rgbClr val="002060"/>
                </a:solidFill>
              </a:rPr>
              <a:t>КОМПОНЕНТЫ УМК ПОД РЕД. О. А. КЛИМАНОВОЙ, А. И. АЛЕКСЕЕВА. 5-9 </a:t>
            </a:r>
            <a:r>
              <a:rPr lang="ru-RU" sz="2000" b="1" dirty="0" err="1">
                <a:solidFill>
                  <a:srgbClr val="002060"/>
                </a:solidFill>
              </a:rPr>
              <a:t>кл</a:t>
            </a:r>
            <a:r>
              <a:rPr lang="ru-RU" sz="2000" b="1" dirty="0">
                <a:solidFill>
                  <a:srgbClr val="002060"/>
                </a:solidFill>
              </a:rPr>
              <a:t>.</a:t>
            </a:r>
          </a:p>
        </p:txBody>
      </p:sp>
      <p:cxnSp>
        <p:nvCxnSpPr>
          <p:cNvPr id="53" name="Прямая соединительная линия 52"/>
          <p:cNvCxnSpPr>
            <a:cxnSpLocks/>
          </p:cNvCxnSpPr>
          <p:nvPr/>
        </p:nvCxnSpPr>
        <p:spPr>
          <a:xfrm flipV="1">
            <a:off x="1618488" y="462152"/>
            <a:ext cx="9457232" cy="26544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object 52"/>
          <p:cNvSpPr/>
          <p:nvPr/>
        </p:nvSpPr>
        <p:spPr>
          <a:xfrm>
            <a:off x="4782930" y="6285794"/>
            <a:ext cx="192024" cy="24623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r>
              <a:rPr lang="ru-RU" dirty="0"/>
              <a:t>                   </a:t>
            </a:r>
            <a:endParaRPr dirty="0"/>
          </a:p>
        </p:txBody>
      </p:sp>
      <p:sp>
        <p:nvSpPr>
          <p:cNvPr id="55" name="object 53"/>
          <p:cNvSpPr/>
          <p:nvPr/>
        </p:nvSpPr>
        <p:spPr>
          <a:xfrm>
            <a:off x="4677773" y="6192748"/>
            <a:ext cx="414655" cy="431705"/>
          </a:xfrm>
          <a:custGeom>
            <a:avLst/>
            <a:gdLst/>
            <a:ahLst/>
            <a:cxnLst/>
            <a:rect l="l" t="t" r="r" b="b"/>
            <a:pathLst>
              <a:path w="414654" h="411479">
                <a:moveTo>
                  <a:pt x="227838" y="0"/>
                </a:moveTo>
                <a:lnTo>
                  <a:pt x="183769" y="0"/>
                </a:lnTo>
                <a:lnTo>
                  <a:pt x="166116" y="2920"/>
                </a:lnTo>
                <a:lnTo>
                  <a:pt x="126365" y="14604"/>
                </a:lnTo>
                <a:lnTo>
                  <a:pt x="89662" y="33654"/>
                </a:lnTo>
                <a:lnTo>
                  <a:pt x="60325" y="60070"/>
                </a:lnTo>
                <a:lnTo>
                  <a:pt x="33782" y="89280"/>
                </a:lnTo>
                <a:lnTo>
                  <a:pt x="25019" y="106933"/>
                </a:lnTo>
                <a:lnTo>
                  <a:pt x="14732" y="124459"/>
                </a:lnTo>
                <a:lnTo>
                  <a:pt x="8763" y="143509"/>
                </a:lnTo>
                <a:lnTo>
                  <a:pt x="4445" y="162559"/>
                </a:lnTo>
                <a:lnTo>
                  <a:pt x="0" y="183006"/>
                </a:lnTo>
                <a:lnTo>
                  <a:pt x="0" y="226948"/>
                </a:lnTo>
                <a:lnTo>
                  <a:pt x="4445" y="247522"/>
                </a:lnTo>
                <a:lnTo>
                  <a:pt x="8763" y="265048"/>
                </a:lnTo>
                <a:lnTo>
                  <a:pt x="14732" y="284098"/>
                </a:lnTo>
                <a:lnTo>
                  <a:pt x="25019" y="303148"/>
                </a:lnTo>
                <a:lnTo>
                  <a:pt x="33782" y="320674"/>
                </a:lnTo>
                <a:lnTo>
                  <a:pt x="46990" y="336803"/>
                </a:lnTo>
                <a:lnTo>
                  <a:pt x="60325" y="349973"/>
                </a:lnTo>
                <a:lnTo>
                  <a:pt x="74930" y="364616"/>
                </a:lnTo>
                <a:lnTo>
                  <a:pt x="89662" y="376339"/>
                </a:lnTo>
                <a:lnTo>
                  <a:pt x="107315" y="385127"/>
                </a:lnTo>
                <a:lnTo>
                  <a:pt x="126365" y="395376"/>
                </a:lnTo>
                <a:lnTo>
                  <a:pt x="145542" y="402691"/>
                </a:lnTo>
                <a:lnTo>
                  <a:pt x="166116" y="408546"/>
                </a:lnTo>
                <a:lnTo>
                  <a:pt x="183769" y="410019"/>
                </a:lnTo>
                <a:lnTo>
                  <a:pt x="207264" y="411479"/>
                </a:lnTo>
                <a:lnTo>
                  <a:pt x="248412" y="408546"/>
                </a:lnTo>
                <a:lnTo>
                  <a:pt x="267589" y="402691"/>
                </a:lnTo>
                <a:lnTo>
                  <a:pt x="288163" y="395376"/>
                </a:lnTo>
                <a:lnTo>
                  <a:pt x="304292" y="385127"/>
                </a:lnTo>
                <a:lnTo>
                  <a:pt x="310184" y="382193"/>
                </a:lnTo>
                <a:lnTo>
                  <a:pt x="188214" y="382193"/>
                </a:lnTo>
                <a:lnTo>
                  <a:pt x="170561" y="377799"/>
                </a:lnTo>
                <a:lnTo>
                  <a:pt x="154305" y="374865"/>
                </a:lnTo>
                <a:lnTo>
                  <a:pt x="136651" y="369011"/>
                </a:lnTo>
                <a:lnTo>
                  <a:pt x="122047" y="361695"/>
                </a:lnTo>
                <a:lnTo>
                  <a:pt x="107315" y="351447"/>
                </a:lnTo>
                <a:lnTo>
                  <a:pt x="94107" y="342658"/>
                </a:lnTo>
                <a:lnTo>
                  <a:pt x="58800" y="303148"/>
                </a:lnTo>
                <a:lnTo>
                  <a:pt x="35306" y="257682"/>
                </a:lnTo>
                <a:lnTo>
                  <a:pt x="27940" y="204977"/>
                </a:lnTo>
                <a:lnTo>
                  <a:pt x="29337" y="187451"/>
                </a:lnTo>
                <a:lnTo>
                  <a:pt x="32385" y="169925"/>
                </a:lnTo>
                <a:lnTo>
                  <a:pt x="35306" y="153796"/>
                </a:lnTo>
                <a:lnTo>
                  <a:pt x="42672" y="136143"/>
                </a:lnTo>
                <a:lnTo>
                  <a:pt x="51435" y="121538"/>
                </a:lnTo>
                <a:lnTo>
                  <a:pt x="58800" y="106933"/>
                </a:lnTo>
                <a:lnTo>
                  <a:pt x="107315" y="57149"/>
                </a:lnTo>
                <a:lnTo>
                  <a:pt x="154305" y="35178"/>
                </a:lnTo>
                <a:lnTo>
                  <a:pt x="207264" y="27812"/>
                </a:lnTo>
                <a:lnTo>
                  <a:pt x="311919" y="27812"/>
                </a:lnTo>
                <a:lnTo>
                  <a:pt x="304292" y="23367"/>
                </a:lnTo>
                <a:lnTo>
                  <a:pt x="288163" y="14604"/>
                </a:lnTo>
                <a:lnTo>
                  <a:pt x="267589" y="7365"/>
                </a:lnTo>
                <a:lnTo>
                  <a:pt x="248412" y="2920"/>
                </a:lnTo>
                <a:lnTo>
                  <a:pt x="227838" y="0"/>
                </a:lnTo>
                <a:close/>
              </a:path>
              <a:path w="414654" h="411479">
                <a:moveTo>
                  <a:pt x="311919" y="27812"/>
                </a:moveTo>
                <a:lnTo>
                  <a:pt x="207264" y="27812"/>
                </a:lnTo>
                <a:lnTo>
                  <a:pt x="223393" y="29336"/>
                </a:lnTo>
                <a:lnTo>
                  <a:pt x="242570" y="30733"/>
                </a:lnTo>
                <a:lnTo>
                  <a:pt x="260223" y="35178"/>
                </a:lnTo>
                <a:lnTo>
                  <a:pt x="274827" y="42417"/>
                </a:lnTo>
                <a:lnTo>
                  <a:pt x="291084" y="49783"/>
                </a:lnTo>
                <a:lnTo>
                  <a:pt x="304292" y="57149"/>
                </a:lnTo>
                <a:lnTo>
                  <a:pt x="320421" y="68833"/>
                </a:lnTo>
                <a:lnTo>
                  <a:pt x="330708" y="80517"/>
                </a:lnTo>
                <a:lnTo>
                  <a:pt x="343916" y="93725"/>
                </a:lnTo>
                <a:lnTo>
                  <a:pt x="370459" y="136143"/>
                </a:lnTo>
                <a:lnTo>
                  <a:pt x="379222" y="169925"/>
                </a:lnTo>
                <a:lnTo>
                  <a:pt x="383667" y="187451"/>
                </a:lnTo>
                <a:lnTo>
                  <a:pt x="383667" y="222630"/>
                </a:lnTo>
                <a:lnTo>
                  <a:pt x="379222" y="241553"/>
                </a:lnTo>
                <a:lnTo>
                  <a:pt x="376300" y="257682"/>
                </a:lnTo>
                <a:lnTo>
                  <a:pt x="354202" y="303148"/>
                </a:lnTo>
                <a:lnTo>
                  <a:pt x="330708" y="329476"/>
                </a:lnTo>
                <a:lnTo>
                  <a:pt x="320421" y="342658"/>
                </a:lnTo>
                <a:lnTo>
                  <a:pt x="304292" y="351447"/>
                </a:lnTo>
                <a:lnTo>
                  <a:pt x="291084" y="361695"/>
                </a:lnTo>
                <a:lnTo>
                  <a:pt x="274827" y="369011"/>
                </a:lnTo>
                <a:lnTo>
                  <a:pt x="260223" y="374865"/>
                </a:lnTo>
                <a:lnTo>
                  <a:pt x="242570" y="377799"/>
                </a:lnTo>
                <a:lnTo>
                  <a:pt x="223393" y="382193"/>
                </a:lnTo>
                <a:lnTo>
                  <a:pt x="310184" y="382193"/>
                </a:lnTo>
                <a:lnTo>
                  <a:pt x="321945" y="376339"/>
                </a:lnTo>
                <a:lnTo>
                  <a:pt x="338074" y="364616"/>
                </a:lnTo>
                <a:lnTo>
                  <a:pt x="354202" y="349973"/>
                </a:lnTo>
                <a:lnTo>
                  <a:pt x="367538" y="336803"/>
                </a:lnTo>
                <a:lnTo>
                  <a:pt x="377825" y="320674"/>
                </a:lnTo>
                <a:lnTo>
                  <a:pt x="389509" y="303148"/>
                </a:lnTo>
                <a:lnTo>
                  <a:pt x="404241" y="265048"/>
                </a:lnTo>
                <a:lnTo>
                  <a:pt x="410083" y="247522"/>
                </a:lnTo>
                <a:lnTo>
                  <a:pt x="411607" y="226948"/>
                </a:lnTo>
                <a:lnTo>
                  <a:pt x="414527" y="204977"/>
                </a:lnTo>
                <a:lnTo>
                  <a:pt x="411607" y="183006"/>
                </a:lnTo>
                <a:lnTo>
                  <a:pt x="410083" y="162559"/>
                </a:lnTo>
                <a:lnTo>
                  <a:pt x="404241" y="143509"/>
                </a:lnTo>
                <a:lnTo>
                  <a:pt x="389509" y="106933"/>
                </a:lnTo>
                <a:lnTo>
                  <a:pt x="367538" y="74675"/>
                </a:lnTo>
                <a:lnTo>
                  <a:pt x="321945" y="33654"/>
                </a:lnTo>
                <a:lnTo>
                  <a:pt x="311919" y="27812"/>
                </a:lnTo>
                <a:close/>
              </a:path>
            </a:pathLst>
          </a:custGeom>
          <a:solidFill>
            <a:srgbClr val="2E3695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57" name="Picture 45" descr="География. 8–9 классы. Методическое пособие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24118" y="2223249"/>
            <a:ext cx="1651602" cy="2490136"/>
          </a:xfrm>
          <a:prstGeom prst="rect">
            <a:avLst/>
          </a:prstGeom>
          <a:noFill/>
          <a:ln>
            <a:solidFill>
              <a:schemeClr val="accent1">
                <a:lumMod val="40000"/>
                <a:lumOff val="6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54" descr="География. 5–6 классы. Методическое пособие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1173" y="1621514"/>
            <a:ext cx="1800749" cy="2532248"/>
          </a:xfrm>
          <a:prstGeom prst="rect">
            <a:avLst/>
          </a:prstGeom>
          <a:noFill/>
          <a:ln>
            <a:solidFill>
              <a:schemeClr val="accent1">
                <a:lumMod val="40000"/>
                <a:lumOff val="6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0" name="Прямоугольник 59"/>
          <p:cNvSpPr/>
          <p:nvPr/>
        </p:nvSpPr>
        <p:spPr>
          <a:xfrm>
            <a:off x="8276460" y="1125394"/>
            <a:ext cx="260039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buClr>
                <a:srgbClr val="2D3494"/>
              </a:buClr>
            </a:pPr>
            <a:r>
              <a:rPr lang="ru-RU" sz="1600" b="1" dirty="0">
                <a:latin typeface="Calibri" panose="020F0502020204030204" pitchFamily="34" charset="0"/>
                <a:cs typeface="Calibri" panose="020F0502020204030204" pitchFamily="34" charset="0"/>
              </a:rPr>
              <a:t>методические пособия            </a:t>
            </a:r>
          </a:p>
        </p:txBody>
      </p:sp>
      <p:pic>
        <p:nvPicPr>
          <p:cNvPr id="61" name="Рисунок 60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230928" y="4076870"/>
            <a:ext cx="1565912" cy="2146460"/>
          </a:xfrm>
          <a:prstGeom prst="rect">
            <a:avLst/>
          </a:prstGeom>
        </p:spPr>
      </p:pic>
      <p:sp>
        <p:nvSpPr>
          <p:cNvPr id="62" name="Прямоугольник 61"/>
          <p:cNvSpPr/>
          <p:nvPr/>
        </p:nvSpPr>
        <p:spPr>
          <a:xfrm>
            <a:off x="5136516" y="6149964"/>
            <a:ext cx="1753942" cy="47448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ru-RU" sz="1200" dirty="0">
                <a:solidFill>
                  <a:srgbClr val="171717"/>
                </a:solidFill>
                <a:latin typeface="Carlito"/>
                <a:cs typeface="Carlito"/>
              </a:rPr>
              <a:t>в электронной форме</a:t>
            </a:r>
          </a:p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ru-RU" sz="1200" dirty="0">
                <a:solidFill>
                  <a:srgbClr val="171717"/>
                </a:solidFill>
                <a:latin typeface="Carlito"/>
                <a:cs typeface="Carlito"/>
              </a:rPr>
              <a:t> на сайте</a:t>
            </a:r>
          </a:p>
        </p:txBody>
      </p:sp>
      <p:sp>
        <p:nvSpPr>
          <p:cNvPr id="63" name="Прямоугольник 62"/>
          <p:cNvSpPr/>
          <p:nvPr/>
        </p:nvSpPr>
        <p:spPr>
          <a:xfrm>
            <a:off x="5011937" y="3716317"/>
            <a:ext cx="197361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>
                <a:srgbClr val="2D3494"/>
              </a:buClr>
            </a:pPr>
            <a:r>
              <a:rPr lang="ru-RU" sz="1600" b="1" dirty="0">
                <a:latin typeface="Calibri" panose="020F0502020204030204" pitchFamily="34" charset="0"/>
                <a:cs typeface="Calibri" panose="020F0502020204030204" pitchFamily="34" charset="0"/>
              </a:rPr>
              <a:t>рабочая программа</a:t>
            </a:r>
          </a:p>
        </p:txBody>
      </p:sp>
      <p:sp>
        <p:nvSpPr>
          <p:cNvPr id="74" name="Прямоугольник 73"/>
          <p:cNvSpPr/>
          <p:nvPr/>
        </p:nvSpPr>
        <p:spPr>
          <a:xfrm>
            <a:off x="1910343" y="975450"/>
            <a:ext cx="168648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buClr>
                <a:srgbClr val="2D3494"/>
              </a:buClr>
            </a:pPr>
            <a:r>
              <a:rPr lang="ru-RU" sz="1600" b="1" dirty="0">
                <a:latin typeface="Calibri" panose="020F0502020204030204" pitchFamily="34" charset="0"/>
                <a:cs typeface="Calibri" panose="020F0502020204030204" pitchFamily="34" charset="0"/>
              </a:rPr>
              <a:t>рабочие тетради</a:t>
            </a:r>
          </a:p>
        </p:txBody>
      </p:sp>
    </p:spTree>
    <p:extLst>
      <p:ext uri="{BB962C8B-B14F-4D97-AF65-F5344CB8AC3E}">
        <p14:creationId xmlns:p14="http://schemas.microsoft.com/office/powerpoint/2010/main" val="115701641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69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xmlns="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11375669" y="2257824"/>
            <a:ext cx="812363" cy="754751"/>
          </a:xfrm>
          <a:prstGeom prst="rect">
            <a:avLst/>
          </a:prstGeom>
          <a:solidFill>
            <a:srgbClr val="40D4E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3"/>
          <p:cNvSpPr>
            <a:spLocks noChangeArrowheads="1"/>
          </p:cNvSpPr>
          <p:nvPr/>
        </p:nvSpPr>
        <p:spPr bwMode="auto">
          <a:xfrm>
            <a:off x="11375669" y="5276823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4"/>
          <p:cNvSpPr>
            <a:spLocks noChangeArrowheads="1"/>
          </p:cNvSpPr>
          <p:nvPr/>
        </p:nvSpPr>
        <p:spPr bwMode="auto">
          <a:xfrm>
            <a:off x="11376586" y="4522072"/>
            <a:ext cx="812363" cy="754751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17"/>
          <p:cNvSpPr>
            <a:spLocks noChangeArrowheads="1"/>
          </p:cNvSpPr>
          <p:nvPr/>
        </p:nvSpPr>
        <p:spPr bwMode="auto">
          <a:xfrm>
            <a:off x="11375670" y="-4589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19"/>
          <p:cNvSpPr>
            <a:spLocks noChangeArrowheads="1"/>
          </p:cNvSpPr>
          <p:nvPr/>
        </p:nvSpPr>
        <p:spPr bwMode="auto">
          <a:xfrm>
            <a:off x="11376586" y="3012572"/>
            <a:ext cx="812363" cy="754751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1"/>
          <p:cNvSpPr>
            <a:spLocks noChangeArrowheads="1"/>
          </p:cNvSpPr>
          <p:nvPr/>
        </p:nvSpPr>
        <p:spPr bwMode="auto">
          <a:xfrm>
            <a:off x="11376586" y="6031572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2"/>
          <p:cNvSpPr>
            <a:spLocks noChangeArrowheads="1"/>
          </p:cNvSpPr>
          <p:nvPr/>
        </p:nvSpPr>
        <p:spPr bwMode="auto">
          <a:xfrm>
            <a:off x="11375670" y="1502768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2" name="Rectangle 25"/>
          <p:cNvSpPr>
            <a:spLocks noChangeArrowheads="1"/>
          </p:cNvSpPr>
          <p:nvPr/>
        </p:nvSpPr>
        <p:spPr bwMode="auto">
          <a:xfrm>
            <a:off x="11376586" y="3767322"/>
            <a:ext cx="812363" cy="754751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29"/>
          <p:cNvSpPr>
            <a:spLocks noChangeArrowheads="1"/>
          </p:cNvSpPr>
          <p:nvPr/>
        </p:nvSpPr>
        <p:spPr bwMode="auto">
          <a:xfrm>
            <a:off x="11375670" y="748019"/>
            <a:ext cx="812363" cy="754751"/>
          </a:xfrm>
          <a:prstGeom prst="rect">
            <a:avLst/>
          </a:prstGeom>
          <a:solidFill>
            <a:srgbClr val="9ED44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2"/>
          <p:cNvSpPr>
            <a:spLocks noEditPoints="1"/>
          </p:cNvSpPr>
          <p:nvPr/>
        </p:nvSpPr>
        <p:spPr bwMode="auto">
          <a:xfrm>
            <a:off x="11600809" y="2514255"/>
            <a:ext cx="362085" cy="271895"/>
          </a:xfrm>
          <a:custGeom>
            <a:avLst/>
            <a:gdLst>
              <a:gd name="T0" fmla="*/ 787 w 859"/>
              <a:gd name="T1" fmla="*/ 107 h 644"/>
              <a:gd name="T2" fmla="*/ 787 w 859"/>
              <a:gd name="T3" fmla="*/ 573 h 644"/>
              <a:gd name="T4" fmla="*/ 537 w 859"/>
              <a:gd name="T5" fmla="*/ 573 h 644"/>
              <a:gd name="T6" fmla="*/ 465 w 859"/>
              <a:gd name="T7" fmla="*/ 644 h 644"/>
              <a:gd name="T8" fmla="*/ 859 w 859"/>
              <a:gd name="T9" fmla="*/ 644 h 644"/>
              <a:gd name="T10" fmla="*/ 859 w 859"/>
              <a:gd name="T11" fmla="*/ 107 h 644"/>
              <a:gd name="T12" fmla="*/ 787 w 859"/>
              <a:gd name="T13" fmla="*/ 107 h 644"/>
              <a:gd name="T14" fmla="*/ 476 w 859"/>
              <a:gd name="T15" fmla="*/ 476 h 644"/>
              <a:gd name="T16" fmla="*/ 383 w 859"/>
              <a:gd name="T17" fmla="*/ 476 h 644"/>
              <a:gd name="T18" fmla="*/ 373 w 859"/>
              <a:gd name="T19" fmla="*/ 465 h 644"/>
              <a:gd name="T20" fmla="*/ 179 w 859"/>
              <a:gd name="T21" fmla="*/ 465 h 644"/>
              <a:gd name="T22" fmla="*/ 179 w 859"/>
              <a:gd name="T23" fmla="*/ 71 h 644"/>
              <a:gd name="T24" fmla="*/ 344 w 859"/>
              <a:gd name="T25" fmla="*/ 71 h 644"/>
              <a:gd name="T26" fmla="*/ 393 w 859"/>
              <a:gd name="T27" fmla="*/ 96 h 644"/>
              <a:gd name="T28" fmla="*/ 393 w 859"/>
              <a:gd name="T29" fmla="*/ 358 h 644"/>
              <a:gd name="T30" fmla="*/ 465 w 859"/>
              <a:gd name="T31" fmla="*/ 358 h 644"/>
              <a:gd name="T32" fmla="*/ 465 w 859"/>
              <a:gd name="T33" fmla="*/ 96 h 644"/>
              <a:gd name="T34" fmla="*/ 515 w 859"/>
              <a:gd name="T35" fmla="*/ 71 h 644"/>
              <a:gd name="T36" fmla="*/ 680 w 859"/>
              <a:gd name="T37" fmla="*/ 71 h 644"/>
              <a:gd name="T38" fmla="*/ 680 w 859"/>
              <a:gd name="T39" fmla="*/ 465 h 644"/>
              <a:gd name="T40" fmla="*/ 486 w 859"/>
              <a:gd name="T41" fmla="*/ 465 h 644"/>
              <a:gd name="T42" fmla="*/ 476 w 859"/>
              <a:gd name="T43" fmla="*/ 476 h 644"/>
              <a:gd name="T44" fmla="*/ 752 w 859"/>
              <a:gd name="T45" fmla="*/ 537 h 644"/>
              <a:gd name="T46" fmla="*/ 752 w 859"/>
              <a:gd name="T47" fmla="*/ 0 h 644"/>
              <a:gd name="T48" fmla="*/ 486 w 859"/>
              <a:gd name="T49" fmla="*/ 0 h 644"/>
              <a:gd name="T50" fmla="*/ 476 w 859"/>
              <a:gd name="T51" fmla="*/ 10 h 644"/>
              <a:gd name="T52" fmla="*/ 383 w 859"/>
              <a:gd name="T53" fmla="*/ 10 h 644"/>
              <a:gd name="T54" fmla="*/ 373 w 859"/>
              <a:gd name="T55" fmla="*/ 0 h 644"/>
              <a:gd name="T56" fmla="*/ 107 w 859"/>
              <a:gd name="T57" fmla="*/ 0 h 644"/>
              <a:gd name="T58" fmla="*/ 107 w 859"/>
              <a:gd name="T59" fmla="*/ 537 h 644"/>
              <a:gd name="T60" fmla="*/ 344 w 859"/>
              <a:gd name="T61" fmla="*/ 537 h 644"/>
              <a:gd name="T62" fmla="*/ 429 w 859"/>
              <a:gd name="T63" fmla="*/ 566 h 644"/>
              <a:gd name="T64" fmla="*/ 515 w 859"/>
              <a:gd name="T65" fmla="*/ 537 h 644"/>
              <a:gd name="T66" fmla="*/ 752 w 859"/>
              <a:gd name="T67" fmla="*/ 537 h 644"/>
              <a:gd name="T68" fmla="*/ 71 w 859"/>
              <a:gd name="T69" fmla="*/ 573 h 644"/>
              <a:gd name="T70" fmla="*/ 71 w 859"/>
              <a:gd name="T71" fmla="*/ 107 h 644"/>
              <a:gd name="T72" fmla="*/ 0 w 859"/>
              <a:gd name="T73" fmla="*/ 107 h 644"/>
              <a:gd name="T74" fmla="*/ 0 w 859"/>
              <a:gd name="T75" fmla="*/ 644 h 644"/>
              <a:gd name="T76" fmla="*/ 394 w 859"/>
              <a:gd name="T77" fmla="*/ 644 h 644"/>
              <a:gd name="T78" fmla="*/ 322 w 859"/>
              <a:gd name="T79" fmla="*/ 573 h 644"/>
              <a:gd name="T80" fmla="*/ 71 w 859"/>
              <a:gd name="T81" fmla="*/ 573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9" h="644">
                <a:moveTo>
                  <a:pt x="787" y="107"/>
                </a:moveTo>
                <a:lnTo>
                  <a:pt x="787" y="573"/>
                </a:lnTo>
                <a:lnTo>
                  <a:pt x="537" y="573"/>
                </a:lnTo>
                <a:lnTo>
                  <a:pt x="465" y="644"/>
                </a:lnTo>
                <a:lnTo>
                  <a:pt x="859" y="644"/>
                </a:lnTo>
                <a:lnTo>
                  <a:pt x="859" y="107"/>
                </a:lnTo>
                <a:lnTo>
                  <a:pt x="787" y="107"/>
                </a:lnTo>
                <a:close/>
                <a:moveTo>
                  <a:pt x="476" y="476"/>
                </a:moveTo>
                <a:cubicBezTo>
                  <a:pt x="450" y="501"/>
                  <a:pt x="409" y="501"/>
                  <a:pt x="383" y="476"/>
                </a:cubicBezTo>
                <a:lnTo>
                  <a:pt x="373" y="465"/>
                </a:lnTo>
                <a:lnTo>
                  <a:pt x="179" y="465"/>
                </a:lnTo>
                <a:lnTo>
                  <a:pt x="179" y="71"/>
                </a:lnTo>
                <a:lnTo>
                  <a:pt x="344" y="71"/>
                </a:lnTo>
                <a:cubicBezTo>
                  <a:pt x="359" y="71"/>
                  <a:pt x="393" y="91"/>
                  <a:pt x="393" y="96"/>
                </a:cubicBezTo>
                <a:lnTo>
                  <a:pt x="393" y="358"/>
                </a:lnTo>
                <a:lnTo>
                  <a:pt x="465" y="358"/>
                </a:lnTo>
                <a:lnTo>
                  <a:pt x="465" y="96"/>
                </a:lnTo>
                <a:cubicBezTo>
                  <a:pt x="465" y="91"/>
                  <a:pt x="500" y="71"/>
                  <a:pt x="515" y="71"/>
                </a:cubicBezTo>
                <a:lnTo>
                  <a:pt x="680" y="71"/>
                </a:lnTo>
                <a:lnTo>
                  <a:pt x="680" y="465"/>
                </a:lnTo>
                <a:lnTo>
                  <a:pt x="486" y="465"/>
                </a:lnTo>
                <a:lnTo>
                  <a:pt x="476" y="476"/>
                </a:lnTo>
                <a:close/>
                <a:moveTo>
                  <a:pt x="752" y="537"/>
                </a:moveTo>
                <a:lnTo>
                  <a:pt x="752" y="0"/>
                </a:lnTo>
                <a:lnTo>
                  <a:pt x="486" y="0"/>
                </a:lnTo>
                <a:lnTo>
                  <a:pt x="476" y="10"/>
                </a:lnTo>
                <a:cubicBezTo>
                  <a:pt x="450" y="36"/>
                  <a:pt x="409" y="36"/>
                  <a:pt x="383" y="10"/>
                </a:cubicBezTo>
                <a:lnTo>
                  <a:pt x="373" y="0"/>
                </a:lnTo>
                <a:lnTo>
                  <a:pt x="107" y="0"/>
                </a:lnTo>
                <a:lnTo>
                  <a:pt x="107" y="537"/>
                </a:lnTo>
                <a:lnTo>
                  <a:pt x="344" y="537"/>
                </a:lnTo>
                <a:cubicBezTo>
                  <a:pt x="369" y="573"/>
                  <a:pt x="399" y="566"/>
                  <a:pt x="429" y="566"/>
                </a:cubicBezTo>
                <a:cubicBezTo>
                  <a:pt x="460" y="566"/>
                  <a:pt x="490" y="573"/>
                  <a:pt x="515" y="537"/>
                </a:cubicBezTo>
                <a:lnTo>
                  <a:pt x="752" y="537"/>
                </a:lnTo>
                <a:close/>
                <a:moveTo>
                  <a:pt x="71" y="573"/>
                </a:moveTo>
                <a:lnTo>
                  <a:pt x="71" y="107"/>
                </a:lnTo>
                <a:lnTo>
                  <a:pt x="0" y="107"/>
                </a:lnTo>
                <a:lnTo>
                  <a:pt x="0" y="644"/>
                </a:lnTo>
                <a:lnTo>
                  <a:pt x="394" y="644"/>
                </a:lnTo>
                <a:lnTo>
                  <a:pt x="322" y="573"/>
                </a:lnTo>
                <a:lnTo>
                  <a:pt x="71" y="5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0"/>
          <p:cNvSpPr>
            <a:spLocks noEditPoints="1"/>
          </p:cNvSpPr>
          <p:nvPr/>
        </p:nvSpPr>
        <p:spPr bwMode="auto">
          <a:xfrm>
            <a:off x="11601728" y="1744503"/>
            <a:ext cx="360248" cy="301287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8" name="Freeform 41"/>
          <p:cNvSpPr>
            <a:spLocks/>
          </p:cNvSpPr>
          <p:nvPr/>
        </p:nvSpPr>
        <p:spPr bwMode="auto">
          <a:xfrm>
            <a:off x="11600809" y="4756459"/>
            <a:ext cx="362085" cy="315984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69" name="Группа 68"/>
          <p:cNvGrpSpPr/>
          <p:nvPr/>
        </p:nvGrpSpPr>
        <p:grpSpPr>
          <a:xfrm>
            <a:off x="11614594" y="200960"/>
            <a:ext cx="334516" cy="361915"/>
            <a:chOff x="477468" y="2705515"/>
            <a:chExt cx="409903" cy="443477"/>
          </a:xfrm>
        </p:grpSpPr>
        <p:sp>
          <p:nvSpPr>
            <p:cNvPr id="70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1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72" name="Freeform 44"/>
          <p:cNvSpPr>
            <a:spLocks noEditPoints="1"/>
          </p:cNvSpPr>
          <p:nvPr/>
        </p:nvSpPr>
        <p:spPr bwMode="auto">
          <a:xfrm>
            <a:off x="11606322" y="5464056"/>
            <a:ext cx="351059" cy="380284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3" name="Freeform 45"/>
          <p:cNvSpPr>
            <a:spLocks noEditPoints="1"/>
          </p:cNvSpPr>
          <p:nvPr/>
        </p:nvSpPr>
        <p:spPr bwMode="auto">
          <a:xfrm>
            <a:off x="11601728" y="966788"/>
            <a:ext cx="360248" cy="347216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89" name="Freeform 46"/>
          <p:cNvSpPr>
            <a:spLocks noEditPoints="1"/>
          </p:cNvSpPr>
          <p:nvPr/>
        </p:nvSpPr>
        <p:spPr bwMode="auto">
          <a:xfrm>
            <a:off x="11655949" y="3977824"/>
            <a:ext cx="251807" cy="363751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5" name="Freeform 52"/>
          <p:cNvSpPr>
            <a:spLocks noEditPoints="1"/>
          </p:cNvSpPr>
          <p:nvPr/>
        </p:nvSpPr>
        <p:spPr bwMode="auto">
          <a:xfrm>
            <a:off x="11605404" y="3223075"/>
            <a:ext cx="352896" cy="36375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Freeform 53"/>
          <p:cNvSpPr>
            <a:spLocks noEditPoints="1"/>
          </p:cNvSpPr>
          <p:nvPr/>
        </p:nvSpPr>
        <p:spPr bwMode="auto">
          <a:xfrm>
            <a:off x="11594376" y="6260448"/>
            <a:ext cx="374952" cy="327005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115" name="AutoShape 4"/>
          <p:cNvSpPr>
            <a:spLocks noChangeAspect="1" noChangeArrowheads="1" noTextEdit="1"/>
          </p:cNvSpPr>
          <p:nvPr/>
        </p:nvSpPr>
        <p:spPr bwMode="auto">
          <a:xfrm>
            <a:off x="5844301" y="1808388"/>
            <a:ext cx="918665" cy="317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79" name="Группа 78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80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3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4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5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6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7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8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0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1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2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3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4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1836093" y="134047"/>
            <a:ext cx="95340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002060"/>
                </a:solidFill>
              </a:rPr>
              <a:t> «СФЕРЫ» </a:t>
            </a:r>
            <a:r>
              <a:rPr lang="ru-RU" sz="2400" b="1" dirty="0">
                <a:solidFill>
                  <a:srgbClr val="002060"/>
                </a:solidFill>
                <a:sym typeface="Symbol" panose="05050102010706020507" pitchFamily="18" charset="2"/>
              </a:rPr>
              <a:t>— современная информационно-образовательная среда</a:t>
            </a:r>
            <a:endParaRPr lang="ru-RU" sz="2400" b="1" dirty="0">
              <a:solidFill>
                <a:srgbClr val="002060"/>
              </a:solidFill>
            </a:endParaRPr>
          </a:p>
        </p:txBody>
      </p: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5" name="object 25"/>
          <p:cNvSpPr txBox="1"/>
          <p:nvPr/>
        </p:nvSpPr>
        <p:spPr>
          <a:xfrm>
            <a:off x="517194" y="1072715"/>
            <a:ext cx="4426222" cy="210314"/>
          </a:xfrm>
          <a:prstGeom prst="rect">
            <a:avLst/>
          </a:prstGeom>
        </p:spPr>
        <p:txBody>
          <a:bodyPr vert="horz" wrap="square" lIns="0" tIns="22860" rIns="0" bIns="0" rtlCol="0">
            <a:spAutoFit/>
          </a:bodyPr>
          <a:lstStyle/>
          <a:p>
            <a:pPr marL="518159" marR="5080" indent="-506095">
              <a:lnSpc>
                <a:spcPts val="1400"/>
              </a:lnSpc>
              <a:spcBef>
                <a:spcPts val="180"/>
              </a:spcBef>
            </a:pPr>
            <a:r>
              <a:rPr lang="ru-RU" b="1" spc="-5" dirty="0">
                <a:solidFill>
                  <a:srgbClr val="002060"/>
                </a:solidFill>
                <a:latin typeface="Carlito"/>
                <a:cs typeface="Carlito"/>
              </a:rPr>
              <a:t>ЛИНИЯ </a:t>
            </a:r>
            <a:r>
              <a:rPr lang="ru-RU" b="1" dirty="0">
                <a:solidFill>
                  <a:srgbClr val="002060"/>
                </a:solidFill>
                <a:latin typeface="Carlito"/>
                <a:cs typeface="Carlito"/>
              </a:rPr>
              <a:t>УМК </a:t>
            </a:r>
            <a:r>
              <a:rPr lang="ru-RU" b="1" spc="-5" dirty="0">
                <a:solidFill>
                  <a:srgbClr val="002060"/>
                </a:solidFill>
                <a:latin typeface="Carlito"/>
                <a:cs typeface="Carlito"/>
              </a:rPr>
              <a:t>«СФЕРЫ» 5-11 КЛАССЫ  </a:t>
            </a:r>
          </a:p>
        </p:txBody>
      </p:sp>
      <p:pic>
        <p:nvPicPr>
          <p:cNvPr id="47" name="Рисунок 4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91" y="1808388"/>
            <a:ext cx="1671116" cy="2240096"/>
          </a:xfrm>
          <a:prstGeom prst="rect">
            <a:avLst/>
          </a:prstGeom>
          <a:ln>
            <a:solidFill>
              <a:schemeClr val="accent1">
                <a:lumMod val="75000"/>
              </a:schemeClr>
            </a:solidFill>
          </a:ln>
        </p:spPr>
      </p:pic>
      <p:pic>
        <p:nvPicPr>
          <p:cNvPr id="53" name="Рисунок 5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1895" y="2045790"/>
            <a:ext cx="1697398" cy="2240097"/>
          </a:xfrm>
          <a:prstGeom prst="rect">
            <a:avLst/>
          </a:prstGeom>
          <a:ln>
            <a:solidFill>
              <a:schemeClr val="accent1">
                <a:lumMod val="75000"/>
              </a:schemeClr>
            </a:solidFill>
          </a:ln>
        </p:spPr>
      </p:pic>
      <p:sp>
        <p:nvSpPr>
          <p:cNvPr id="6" name="Прямоугольник 5"/>
          <p:cNvSpPr/>
          <p:nvPr/>
        </p:nvSpPr>
        <p:spPr>
          <a:xfrm>
            <a:off x="5508731" y="1578584"/>
            <a:ext cx="5606550" cy="401648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ru-RU" sz="1600" i="1" dirty="0"/>
              <a:t>   </a:t>
            </a:r>
            <a:r>
              <a:rPr lang="ru-RU" sz="1600" b="1" i="1" dirty="0"/>
              <a:t>Ключевые преимущества учебников</a:t>
            </a:r>
          </a:p>
          <a:p>
            <a:endParaRPr lang="ru-RU" sz="1600" dirty="0"/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/>
              <a:t>Повышение заинтересованности и мотивации учащихся при изучение географии, помогает лучше вникать и понимать сложные географические процессы и явления</a:t>
            </a:r>
          </a:p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/>
              <a:t>акцент на формирование и отработку навыков самостоятельного получения учащимися необходимой информации, ее анализа и интерпретации,</a:t>
            </a:r>
            <a:r>
              <a:rPr lang="ru-RU" sz="1600" dirty="0">
                <a:solidFill>
                  <a:srgbClr val="294790"/>
                </a:solidFill>
              </a:rPr>
              <a:t> </a:t>
            </a:r>
            <a:r>
              <a:rPr lang="ru-RU" sz="1600" dirty="0"/>
              <a:t>умений осуществлять перенос знаний, операций и приёмов мышления из одной области знания в другую</a:t>
            </a:r>
          </a:p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ru-RU" sz="1600" dirty="0"/>
              <a:t>Использование форм и способов подачи материала в соответствии с тенденциями, существующими в современных информационных технологиях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/>
              <a:t>параграфы учебников дополнены </a:t>
            </a:r>
            <a:r>
              <a:rPr lang="ru-RU" sz="1600" dirty="0" err="1"/>
              <a:t>разноуровневыми</a:t>
            </a:r>
            <a:r>
              <a:rPr lang="ru-RU" sz="1600" dirty="0"/>
              <a:t> вопросами и заданиями практической направленности</a:t>
            </a:r>
          </a:p>
        </p:txBody>
      </p:sp>
      <p:sp>
        <p:nvSpPr>
          <p:cNvPr id="54" name="Подзаголовок 3"/>
          <p:cNvSpPr txBox="1">
            <a:spLocks/>
          </p:cNvSpPr>
          <p:nvPr/>
        </p:nvSpPr>
        <p:spPr>
          <a:xfrm>
            <a:off x="486549" y="4884511"/>
            <a:ext cx="3455530" cy="1406459"/>
          </a:xfrm>
          <a:prstGeom prst="rect">
            <a:avLst/>
          </a:prstGeom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b="1" dirty="0">
                <a:latin typeface="Calibri" panose="020F0502020204030204" pitchFamily="34" charset="0"/>
                <a:cs typeface="Calibri" panose="020F0502020204030204" pitchFamily="34" charset="0"/>
              </a:rPr>
              <a:t>Состав УМК:</a:t>
            </a:r>
          </a:p>
          <a:p>
            <a:pPr marL="171450" lvl="0" indent="-1714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поурочное тематическое планирование</a:t>
            </a:r>
          </a:p>
          <a:p>
            <a:pPr marL="180975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рабочая программа</a:t>
            </a:r>
          </a:p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ЭФУ</a:t>
            </a:r>
          </a:p>
          <a:p>
            <a:pPr marL="171450" indent="-1714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тетрадь-тренажёр</a:t>
            </a:r>
          </a:p>
          <a:p>
            <a:pPr marL="171450" indent="-1714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тетрадь-практикум</a:t>
            </a:r>
          </a:p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5" name="Подзаголовок 3"/>
          <p:cNvSpPr txBox="1">
            <a:spLocks/>
          </p:cNvSpPr>
          <p:nvPr/>
        </p:nvSpPr>
        <p:spPr>
          <a:xfrm>
            <a:off x="8945555" y="5062839"/>
            <a:ext cx="2513586" cy="1451081"/>
          </a:xfrm>
          <a:prstGeom prst="rect">
            <a:avLst/>
          </a:prstGeom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7" name="Рисунок 5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616047" y="1882649"/>
            <a:ext cx="1684092" cy="225371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58" name="object 29"/>
          <p:cNvSpPr txBox="1"/>
          <p:nvPr/>
        </p:nvSpPr>
        <p:spPr>
          <a:xfrm>
            <a:off x="445459" y="4554028"/>
            <a:ext cx="2756133" cy="185948"/>
          </a:xfrm>
          <a:prstGeom prst="rect">
            <a:avLst/>
          </a:prstGeom>
          <a:solidFill>
            <a:srgbClr val="2C3493"/>
          </a:solidFill>
        </p:spPr>
        <p:txBody>
          <a:bodyPr vert="horz" wrap="square" lIns="0" tIns="1270" rIns="0" bIns="0" rtlCol="0">
            <a:spAutoFit/>
          </a:bodyPr>
          <a:lstStyle/>
          <a:p>
            <a:pPr marL="255904">
              <a:spcBef>
                <a:spcPts val="5"/>
              </a:spcBef>
            </a:pPr>
            <a:r>
              <a:rPr sz="1200" b="1" spc="-5" dirty="0">
                <a:solidFill>
                  <a:srgbClr val="FFFFFF"/>
                </a:solidFill>
                <a:latin typeface="Carlito"/>
                <a:cs typeface="Carlito"/>
              </a:rPr>
              <a:t>ФП</a:t>
            </a:r>
            <a:r>
              <a:rPr sz="1200" b="1" spc="-15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1200" b="1" spc="-10" dirty="0">
                <a:solidFill>
                  <a:srgbClr val="FFFFFF"/>
                </a:solidFill>
                <a:latin typeface="Carlito"/>
                <a:cs typeface="Carlito"/>
              </a:rPr>
              <a:t>№</a:t>
            </a:r>
            <a:r>
              <a:rPr lang="ru-RU" sz="1200" b="1" spc="-10" dirty="0">
                <a:solidFill>
                  <a:srgbClr val="FFFFFF"/>
                </a:solidFill>
                <a:latin typeface="Carlito"/>
                <a:cs typeface="Carlito"/>
              </a:rPr>
              <a:t> 1.1.2.3.4.8.1-1.1.2.3.4.8.4                            </a:t>
            </a:r>
          </a:p>
        </p:txBody>
      </p:sp>
      <p:sp>
        <p:nvSpPr>
          <p:cNvPr id="64" name="object 39"/>
          <p:cNvSpPr txBox="1"/>
          <p:nvPr/>
        </p:nvSpPr>
        <p:spPr>
          <a:xfrm>
            <a:off x="3510824" y="4554028"/>
            <a:ext cx="1738436" cy="185948"/>
          </a:xfrm>
          <a:prstGeom prst="rect">
            <a:avLst/>
          </a:prstGeom>
          <a:solidFill>
            <a:srgbClr val="2C3493"/>
          </a:solidFill>
        </p:spPr>
        <p:txBody>
          <a:bodyPr vert="horz" wrap="square" lIns="0" tIns="1270" rIns="0" bIns="0" rtlCol="0">
            <a:spAutoFit/>
          </a:bodyPr>
          <a:lstStyle/>
          <a:p>
            <a:pPr marL="199390">
              <a:lnSpc>
                <a:spcPct val="100000"/>
              </a:lnSpc>
              <a:spcBef>
                <a:spcPts val="5"/>
              </a:spcBef>
            </a:pPr>
            <a:r>
              <a:rPr sz="1200" b="1" spc="-5" dirty="0">
                <a:solidFill>
                  <a:srgbClr val="FFFFFF"/>
                </a:solidFill>
                <a:latin typeface="Carlito"/>
                <a:cs typeface="Carlito"/>
              </a:rPr>
              <a:t>ФП №</a:t>
            </a:r>
            <a:r>
              <a:rPr sz="1200" b="1" spc="210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lang="ru-RU" sz="1200" b="1" spc="-10" dirty="0">
                <a:solidFill>
                  <a:srgbClr val="FFFFFF"/>
                </a:solidFill>
                <a:latin typeface="Carlito"/>
                <a:cs typeface="Carlito"/>
              </a:rPr>
              <a:t>1.1.3.3.2.5.1</a:t>
            </a:r>
            <a:endParaRPr sz="1200" dirty="0">
              <a:latin typeface="Carlito"/>
              <a:cs typeface="Carlito"/>
            </a:endParaRPr>
          </a:p>
        </p:txBody>
      </p:sp>
      <p:cxnSp>
        <p:nvCxnSpPr>
          <p:cNvPr id="63" name="Прямая соединительная линия 62"/>
          <p:cNvCxnSpPr/>
          <p:nvPr/>
        </p:nvCxnSpPr>
        <p:spPr>
          <a:xfrm>
            <a:off x="1641272" y="639222"/>
            <a:ext cx="9706667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718605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" name="Рисунок 6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2132" y="1821869"/>
            <a:ext cx="795343" cy="1049275"/>
          </a:xfrm>
          <a:prstGeom prst="rect">
            <a:avLst/>
          </a:prstGeom>
        </p:spPr>
      </p:pic>
      <p:pic>
        <p:nvPicPr>
          <p:cNvPr id="51" name="Рисунок 5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8000" y="1647148"/>
            <a:ext cx="808566" cy="1066720"/>
          </a:xfrm>
          <a:prstGeom prst="rect">
            <a:avLst/>
          </a:prstGeom>
        </p:spPr>
      </p:pic>
      <p:pic>
        <p:nvPicPr>
          <p:cNvPr id="67" name="Рисунок 6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1023" y="1519571"/>
            <a:ext cx="723118" cy="953991"/>
          </a:xfrm>
          <a:prstGeom prst="rect">
            <a:avLst/>
          </a:prstGeom>
        </p:spPr>
      </p:pic>
      <p:pic>
        <p:nvPicPr>
          <p:cNvPr id="66" name="Рисунок 6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8852" y="1366568"/>
            <a:ext cx="811641" cy="1070777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2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4" name="TextBox 63"/>
          <p:cNvSpPr txBox="1"/>
          <p:nvPr/>
        </p:nvSpPr>
        <p:spPr>
          <a:xfrm>
            <a:off x="1317999" y="142905"/>
            <a:ext cx="10029387" cy="7201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400" b="1" dirty="0">
                <a:solidFill>
                  <a:srgbClr val="C00000"/>
                </a:solidFill>
                <a:latin typeface="Carlito"/>
                <a:ea typeface="Open Sans Condensed" pitchFamily="34" charset="0"/>
                <a:cs typeface="Open Sans Condensed" pitchFamily="34" charset="0"/>
              </a:rPr>
              <a:t>                           ГЕОГРАФИЯ.   </a:t>
            </a:r>
            <a:r>
              <a:rPr lang="ru-RU" sz="2400" b="1" dirty="0">
                <a:solidFill>
                  <a:srgbClr val="002060"/>
                </a:solidFill>
                <a:latin typeface="Carlito"/>
                <a:ea typeface="Open Sans Condensed" pitchFamily="34" charset="0"/>
                <a:cs typeface="Open Sans Condensed" pitchFamily="34" charset="0"/>
              </a:rPr>
              <a:t/>
            </a:r>
            <a:br>
              <a:rPr lang="ru-RU" sz="2400" b="1" dirty="0">
                <a:solidFill>
                  <a:srgbClr val="002060"/>
                </a:solidFill>
                <a:latin typeface="Carlito"/>
                <a:ea typeface="Open Sans Condensed" pitchFamily="34" charset="0"/>
                <a:cs typeface="Open Sans Condensed" pitchFamily="34" charset="0"/>
              </a:rPr>
            </a:b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rlito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22" name="object 23"/>
          <p:cNvSpPr txBox="1"/>
          <p:nvPr/>
        </p:nvSpPr>
        <p:spPr>
          <a:xfrm>
            <a:off x="5752098" y="102983"/>
            <a:ext cx="3304879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lang="ru-RU" sz="2400" b="1" dirty="0">
                <a:solidFill>
                  <a:srgbClr val="002060"/>
                </a:solidFill>
                <a:latin typeface="Carlito"/>
                <a:cs typeface="Carlito"/>
              </a:rPr>
              <a:t>О</a:t>
            </a:r>
            <a:r>
              <a:rPr sz="2400" b="1" spc="-5" dirty="0">
                <a:solidFill>
                  <a:srgbClr val="002060"/>
                </a:solidFill>
                <a:latin typeface="Carlito"/>
                <a:cs typeface="Carlito"/>
              </a:rPr>
              <a:t>СН</a:t>
            </a:r>
            <a:r>
              <a:rPr sz="2400" b="1" dirty="0">
                <a:solidFill>
                  <a:srgbClr val="002060"/>
                </a:solidFill>
                <a:latin typeface="Carlito"/>
                <a:cs typeface="Carlito"/>
              </a:rPr>
              <a:t>ОВНАЯ</a:t>
            </a:r>
            <a:r>
              <a:rPr lang="ru-RU" sz="2400" b="1" dirty="0">
                <a:solidFill>
                  <a:srgbClr val="002060"/>
                </a:solidFill>
                <a:latin typeface="Carlito"/>
                <a:cs typeface="Carlito"/>
              </a:rPr>
              <a:t> </a:t>
            </a:r>
            <a:r>
              <a:rPr sz="2400" b="1" spc="-15" dirty="0">
                <a:solidFill>
                  <a:srgbClr val="002060"/>
                </a:solidFill>
                <a:latin typeface="Carlito"/>
                <a:cs typeface="Carlito"/>
              </a:rPr>
              <a:t>ШКОЛА</a:t>
            </a:r>
            <a:endParaRPr sz="2400" dirty="0">
              <a:solidFill>
                <a:srgbClr val="002060"/>
              </a:solidFill>
              <a:latin typeface="Carlito"/>
              <a:cs typeface="Carlito"/>
            </a:endParaRPr>
          </a:p>
        </p:txBody>
      </p:sp>
      <p:sp>
        <p:nvSpPr>
          <p:cNvPr id="24" name="object 26"/>
          <p:cNvSpPr txBox="1"/>
          <p:nvPr/>
        </p:nvSpPr>
        <p:spPr>
          <a:xfrm>
            <a:off x="8549801" y="3548427"/>
            <a:ext cx="3406831" cy="5232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50" b="1" dirty="0">
                <a:solidFill>
                  <a:srgbClr val="2E2E2E"/>
                </a:solidFill>
                <a:latin typeface="Carlito"/>
                <a:cs typeface="Carlito"/>
              </a:rPr>
              <a:t>УМК </a:t>
            </a:r>
            <a:r>
              <a:rPr lang="ru-RU" sz="1050" b="1" spc="-10" dirty="0">
                <a:solidFill>
                  <a:srgbClr val="2E2E2E"/>
                </a:solidFill>
                <a:latin typeface="Carlito"/>
                <a:cs typeface="Carlito"/>
              </a:rPr>
              <a:t>Лифановой Т. М., Соломиной Е. Н. </a:t>
            </a:r>
          </a:p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050" b="1" spc="-10" dirty="0">
                <a:solidFill>
                  <a:srgbClr val="2E2E2E"/>
                </a:solidFill>
                <a:latin typeface="Carlito"/>
                <a:cs typeface="Carlito"/>
              </a:rPr>
              <a:t>для обучающихся </a:t>
            </a:r>
          </a:p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050" b="1" spc="-10" dirty="0">
                <a:solidFill>
                  <a:srgbClr val="2E2E2E"/>
                </a:solidFill>
                <a:latin typeface="Carlito"/>
                <a:cs typeface="Carlito"/>
              </a:rPr>
              <a:t>с интеллектуальными нарушениями. 6-9 классы</a:t>
            </a:r>
            <a:endParaRPr sz="1050" b="1" dirty="0">
              <a:latin typeface="Carlito"/>
              <a:cs typeface="Carlito"/>
            </a:endParaRPr>
          </a:p>
        </p:txBody>
      </p:sp>
      <p:pic>
        <p:nvPicPr>
          <p:cNvPr id="37" name="Picture 18" descr="https://catalog.prosv.ru/images/medium/45d43d3e-e2b3-11e4-8c1e-0050569c7d18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85675" y="4652676"/>
            <a:ext cx="806282" cy="11578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16" descr="https://catalog.prosv.ru/images/medium/ac5bd3d1-e2b0-11e4-8c1e-0050569c7d18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16062" y="4625988"/>
            <a:ext cx="806283" cy="1138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14" descr="https://catalog.prosv.ru/images/medium/ac5bd3c4-e2b0-11e4-8c1e-0050569c7d18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24831" y="4485120"/>
            <a:ext cx="854797" cy="12103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12" descr="https://catalog.prosv.ru/images/medium/ac5bd3b6-e2b0-11e4-8c1e-0050569c7d18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82114" y="4375288"/>
            <a:ext cx="820225" cy="11581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object 39"/>
          <p:cNvSpPr txBox="1"/>
          <p:nvPr/>
        </p:nvSpPr>
        <p:spPr>
          <a:xfrm>
            <a:off x="9056977" y="6148197"/>
            <a:ext cx="2136948" cy="155171"/>
          </a:xfrm>
          <a:prstGeom prst="rect">
            <a:avLst/>
          </a:prstGeom>
          <a:solidFill>
            <a:srgbClr val="2C3493"/>
          </a:solidFill>
        </p:spPr>
        <p:txBody>
          <a:bodyPr vert="horz" wrap="square" lIns="0" tIns="1270" rIns="0" bIns="0" rtlCol="0">
            <a:spAutoFit/>
          </a:bodyPr>
          <a:lstStyle/>
          <a:p>
            <a:pPr marL="199390">
              <a:lnSpc>
                <a:spcPct val="100000"/>
              </a:lnSpc>
              <a:spcBef>
                <a:spcPts val="5"/>
              </a:spcBef>
            </a:pPr>
            <a:r>
              <a:rPr sz="1000" b="1" spc="-5" dirty="0">
                <a:solidFill>
                  <a:srgbClr val="FFFFFF"/>
                </a:solidFill>
                <a:latin typeface="Carlito"/>
                <a:cs typeface="Carlito"/>
              </a:rPr>
              <a:t>ФП №</a:t>
            </a:r>
            <a:r>
              <a:rPr lang="ru-RU" sz="1000" b="1" spc="-5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lang="ru-RU" sz="1000" b="1" spc="-10" dirty="0">
                <a:solidFill>
                  <a:srgbClr val="FFFFFF"/>
                </a:solidFill>
                <a:latin typeface="Carlito"/>
                <a:cs typeface="Carlito"/>
              </a:rPr>
              <a:t>1.1.2.3.4.4.1</a:t>
            </a:r>
            <a:r>
              <a:rPr lang="ru-RU" sz="1000" b="1" spc="-5" dirty="0">
                <a:solidFill>
                  <a:srgbClr val="FFFFFF"/>
                </a:solidFill>
                <a:latin typeface="Carlito"/>
                <a:cs typeface="Carlito"/>
              </a:rPr>
              <a:t> –</a:t>
            </a:r>
            <a:r>
              <a:rPr lang="ru-RU" sz="1000" b="1" spc="-10" dirty="0">
                <a:solidFill>
                  <a:srgbClr val="FFFFFF"/>
                </a:solidFill>
                <a:latin typeface="Carlito"/>
                <a:cs typeface="Carlito"/>
              </a:rPr>
              <a:t> 1.1.2.3.4.4.4</a:t>
            </a:r>
          </a:p>
        </p:txBody>
      </p:sp>
      <p:sp>
        <p:nvSpPr>
          <p:cNvPr id="81" name="object 38"/>
          <p:cNvSpPr/>
          <p:nvPr/>
        </p:nvSpPr>
        <p:spPr>
          <a:xfrm>
            <a:off x="522796" y="3388401"/>
            <a:ext cx="11245850" cy="41275"/>
          </a:xfrm>
          <a:custGeom>
            <a:avLst/>
            <a:gdLst/>
            <a:ahLst/>
            <a:cxnLst/>
            <a:rect l="l" t="t" r="r" b="b"/>
            <a:pathLst>
              <a:path w="11245850" h="41275">
                <a:moveTo>
                  <a:pt x="11245723" y="0"/>
                </a:moveTo>
                <a:lnTo>
                  <a:pt x="0" y="40893"/>
                </a:lnTo>
              </a:path>
            </a:pathLst>
          </a:custGeom>
          <a:ln w="9144">
            <a:solidFill>
              <a:srgbClr val="2C3493"/>
            </a:solidFill>
            <a:prstDash val="sysDash"/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65" name="Рисунок 64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0159" y="1231515"/>
            <a:ext cx="807637" cy="1065494"/>
          </a:xfrm>
          <a:prstGeom prst="rect">
            <a:avLst/>
          </a:prstGeom>
        </p:spPr>
      </p:pic>
      <p:sp>
        <p:nvSpPr>
          <p:cNvPr id="93" name="object 29"/>
          <p:cNvSpPr txBox="1"/>
          <p:nvPr/>
        </p:nvSpPr>
        <p:spPr>
          <a:xfrm>
            <a:off x="3275185" y="3105896"/>
            <a:ext cx="2344361" cy="155171"/>
          </a:xfrm>
          <a:prstGeom prst="rect">
            <a:avLst/>
          </a:prstGeom>
          <a:solidFill>
            <a:srgbClr val="2C3493"/>
          </a:solidFill>
        </p:spPr>
        <p:txBody>
          <a:bodyPr vert="horz" wrap="square" lIns="0" tIns="1270" rIns="0" bIns="0" rtlCol="0">
            <a:spAutoFit/>
          </a:bodyPr>
          <a:lstStyle/>
          <a:p>
            <a:pPr marL="255904">
              <a:lnSpc>
                <a:spcPct val="100000"/>
              </a:lnSpc>
              <a:spcBef>
                <a:spcPts val="5"/>
              </a:spcBef>
            </a:pPr>
            <a:r>
              <a:rPr sz="1000" b="1" spc="-5" dirty="0">
                <a:solidFill>
                  <a:srgbClr val="FFFFFF"/>
                </a:solidFill>
                <a:latin typeface="Carlito"/>
                <a:cs typeface="Carlito"/>
              </a:rPr>
              <a:t>ФП</a:t>
            </a:r>
            <a:r>
              <a:rPr sz="1000" b="1" spc="-15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1000" b="1" spc="-10" dirty="0">
                <a:solidFill>
                  <a:srgbClr val="FFFFFF"/>
                </a:solidFill>
                <a:latin typeface="Carlito"/>
                <a:cs typeface="Carlito"/>
              </a:rPr>
              <a:t>№</a:t>
            </a:r>
            <a:r>
              <a:rPr lang="ru-RU" sz="1000" b="1" spc="-10" dirty="0">
                <a:solidFill>
                  <a:srgbClr val="FFFFFF"/>
                </a:solidFill>
                <a:latin typeface="Carlito"/>
                <a:cs typeface="Carlito"/>
              </a:rPr>
              <a:t> 1.1.2.3.4.6.1- № 1.1.2.3.4.6.5</a:t>
            </a:r>
          </a:p>
        </p:txBody>
      </p:sp>
      <p:grpSp>
        <p:nvGrpSpPr>
          <p:cNvPr id="5" name="Группа 4">
            <a:extLst>
              <a:ext uri="{FF2B5EF4-FFF2-40B4-BE49-F238E27FC236}">
                <a16:creationId xmlns:a16="http://schemas.microsoft.com/office/drawing/2014/main" xmlns="" id="{AAC9F2FA-AF00-E447-85D3-C652AA36DF42}"/>
              </a:ext>
            </a:extLst>
          </p:cNvPr>
          <p:cNvGrpSpPr/>
          <p:nvPr/>
        </p:nvGrpSpPr>
        <p:grpSpPr>
          <a:xfrm>
            <a:off x="412878" y="3786612"/>
            <a:ext cx="2722146" cy="2531829"/>
            <a:chOff x="1075398" y="1573069"/>
            <a:chExt cx="2722146" cy="2531829"/>
          </a:xfrm>
        </p:grpSpPr>
        <p:sp>
          <p:nvSpPr>
            <p:cNvPr id="71" name="object 95"/>
            <p:cNvSpPr/>
            <p:nvPr/>
          </p:nvSpPr>
          <p:spPr>
            <a:xfrm>
              <a:off x="2917476" y="2644824"/>
              <a:ext cx="814206" cy="1052459"/>
            </a:xfrm>
            <a:prstGeom prst="rect">
              <a:avLst/>
            </a:prstGeom>
            <a:blipFill>
              <a:blip r:embed="rId1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2" name="object 93"/>
            <p:cNvSpPr/>
            <p:nvPr/>
          </p:nvSpPr>
          <p:spPr>
            <a:xfrm>
              <a:off x="2455253" y="2486953"/>
              <a:ext cx="785725" cy="1102186"/>
            </a:xfrm>
            <a:prstGeom prst="rect">
              <a:avLst/>
            </a:prstGeom>
            <a:blipFill>
              <a:blip r:embed="rId1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0" name="object 91"/>
            <p:cNvSpPr/>
            <p:nvPr/>
          </p:nvSpPr>
          <p:spPr>
            <a:xfrm>
              <a:off x="1998073" y="2320772"/>
              <a:ext cx="818036" cy="1075834"/>
            </a:xfrm>
            <a:prstGeom prst="rect">
              <a:avLst/>
            </a:prstGeom>
            <a:blipFill>
              <a:blip r:embed="rId1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9" name="object 89"/>
            <p:cNvSpPr/>
            <p:nvPr/>
          </p:nvSpPr>
          <p:spPr>
            <a:xfrm>
              <a:off x="1596446" y="2168601"/>
              <a:ext cx="811599" cy="1102186"/>
            </a:xfrm>
            <a:prstGeom prst="rect">
              <a:avLst/>
            </a:prstGeom>
            <a:blipFill>
              <a:blip r:embed="rId1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8" name="object 87"/>
            <p:cNvSpPr/>
            <p:nvPr/>
          </p:nvSpPr>
          <p:spPr>
            <a:xfrm>
              <a:off x="1075398" y="2042239"/>
              <a:ext cx="827066" cy="1091866"/>
            </a:xfrm>
            <a:prstGeom prst="rect">
              <a:avLst/>
            </a:prstGeom>
            <a:blipFill>
              <a:blip r:embed="rId1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3" name="object 29"/>
            <p:cNvSpPr txBox="1"/>
            <p:nvPr/>
          </p:nvSpPr>
          <p:spPr>
            <a:xfrm>
              <a:off x="1453183" y="3949727"/>
              <a:ext cx="2344361" cy="155171"/>
            </a:xfrm>
            <a:prstGeom prst="rect">
              <a:avLst/>
            </a:prstGeom>
            <a:solidFill>
              <a:srgbClr val="2C3493"/>
            </a:solidFill>
          </p:spPr>
          <p:txBody>
            <a:bodyPr vert="horz" wrap="square" lIns="0" tIns="1270" rIns="0" bIns="0" rtlCol="0">
              <a:spAutoFit/>
            </a:bodyPr>
            <a:lstStyle/>
            <a:p>
              <a:pPr marL="255904">
                <a:lnSpc>
                  <a:spcPct val="100000"/>
                </a:lnSpc>
                <a:spcBef>
                  <a:spcPts val="5"/>
                </a:spcBef>
              </a:pPr>
              <a:r>
                <a:rPr sz="1000" b="1" spc="-5" dirty="0">
                  <a:solidFill>
                    <a:srgbClr val="FFFFFF"/>
                  </a:solidFill>
                  <a:latin typeface="Carlito"/>
                  <a:cs typeface="Carlito"/>
                </a:rPr>
                <a:t>ФП</a:t>
              </a:r>
              <a:r>
                <a:rPr sz="1000" b="1" spc="-15" dirty="0">
                  <a:solidFill>
                    <a:srgbClr val="FFFFFF"/>
                  </a:solidFill>
                  <a:latin typeface="Carlito"/>
                  <a:cs typeface="Carlito"/>
                </a:rPr>
                <a:t> </a:t>
              </a:r>
              <a:r>
                <a:rPr sz="1000" b="1" spc="-10" dirty="0">
                  <a:solidFill>
                    <a:srgbClr val="FFFFFF"/>
                  </a:solidFill>
                  <a:latin typeface="Carlito"/>
                  <a:cs typeface="Carlito"/>
                </a:rPr>
                <a:t>№</a:t>
              </a:r>
              <a:r>
                <a:rPr lang="ru-RU" sz="1000" b="1" spc="-10" dirty="0">
                  <a:solidFill>
                    <a:srgbClr val="FFFFFF"/>
                  </a:solidFill>
                  <a:latin typeface="Carlito"/>
                  <a:cs typeface="Carlito"/>
                </a:rPr>
                <a:t> 1.1.2.3.4.5.1- № 1.1.2.3.4.5.5</a:t>
              </a:r>
            </a:p>
          </p:txBody>
        </p:sp>
        <p:sp>
          <p:nvSpPr>
            <p:cNvPr id="94" name="object 25"/>
            <p:cNvSpPr txBox="1"/>
            <p:nvPr/>
          </p:nvSpPr>
          <p:spPr>
            <a:xfrm>
              <a:off x="1075398" y="1573069"/>
              <a:ext cx="2690859" cy="407804"/>
            </a:xfrm>
            <a:prstGeom prst="rect">
              <a:avLst/>
            </a:prstGeom>
          </p:spPr>
          <p:txBody>
            <a:bodyPr vert="horz" wrap="square" lIns="0" tIns="22860" rIns="0" bIns="0" rtlCol="0">
              <a:spAutoFit/>
            </a:bodyPr>
            <a:lstStyle/>
            <a:p>
              <a:pPr marL="518159" marR="5080" indent="-506095">
                <a:lnSpc>
                  <a:spcPts val="1400"/>
                </a:lnSpc>
                <a:spcBef>
                  <a:spcPts val="180"/>
                </a:spcBef>
              </a:pPr>
              <a:r>
                <a:rPr sz="1050" b="1" spc="-5" dirty="0">
                  <a:solidFill>
                    <a:srgbClr val="171717"/>
                  </a:solidFill>
                  <a:latin typeface="Carlito"/>
                  <a:cs typeface="Carlito"/>
                </a:rPr>
                <a:t>Линия </a:t>
              </a:r>
              <a:r>
                <a:rPr sz="1050" b="1" dirty="0">
                  <a:solidFill>
                    <a:srgbClr val="171717"/>
                  </a:solidFill>
                  <a:latin typeface="Carlito"/>
                  <a:cs typeface="Carlito"/>
                </a:rPr>
                <a:t>УМК </a:t>
              </a:r>
              <a:r>
                <a:rPr lang="ru-RU" sz="1050" b="1" dirty="0">
                  <a:solidFill>
                    <a:srgbClr val="171717"/>
                  </a:solidFill>
                  <a:latin typeface="Carlito"/>
                  <a:cs typeface="Carlito"/>
                </a:rPr>
                <a:t> </a:t>
              </a:r>
              <a:r>
                <a:rPr sz="1050" b="1" spc="-5" dirty="0">
                  <a:solidFill>
                    <a:srgbClr val="171717"/>
                  </a:solidFill>
                  <a:latin typeface="Carlito"/>
                  <a:cs typeface="Carlito"/>
                </a:rPr>
                <a:t>«Классическая</a:t>
              </a:r>
              <a:r>
                <a:rPr lang="ru-RU" sz="1050" b="1" spc="-5" dirty="0">
                  <a:solidFill>
                    <a:srgbClr val="171717"/>
                  </a:solidFill>
                  <a:latin typeface="Carlito"/>
                  <a:cs typeface="Carlito"/>
                </a:rPr>
                <a:t> </a:t>
              </a:r>
              <a:r>
                <a:rPr sz="1050" b="1" spc="-5" dirty="0">
                  <a:solidFill>
                    <a:srgbClr val="171717"/>
                  </a:solidFill>
                  <a:latin typeface="Carlito"/>
                  <a:cs typeface="Carlito"/>
                </a:rPr>
                <a:t>география</a:t>
              </a:r>
              <a:r>
                <a:rPr lang="ru-RU" sz="1050" b="1" spc="-5" dirty="0">
                  <a:solidFill>
                    <a:srgbClr val="171717"/>
                  </a:solidFill>
                  <a:latin typeface="Carlito"/>
                  <a:cs typeface="Carlito"/>
                </a:rPr>
                <a:t>»</a:t>
              </a:r>
              <a:r>
                <a:rPr lang="ru-RU" sz="1050" b="1" dirty="0">
                  <a:latin typeface="Carlito"/>
                  <a:cs typeface="Carlito"/>
                </a:rPr>
                <a:t>  </a:t>
              </a:r>
              <a:r>
                <a:rPr lang="ru-RU" sz="1050" b="1" spc="-5" dirty="0">
                  <a:solidFill>
                    <a:srgbClr val="171717"/>
                  </a:solidFill>
                  <a:latin typeface="Carlito"/>
                  <a:cs typeface="Carlito"/>
                </a:rPr>
                <a:t> </a:t>
              </a:r>
            </a:p>
            <a:p>
              <a:pPr marL="518159" marR="5080" indent="-506095">
                <a:lnSpc>
                  <a:spcPts val="1400"/>
                </a:lnSpc>
                <a:spcBef>
                  <a:spcPts val="180"/>
                </a:spcBef>
              </a:pPr>
              <a:r>
                <a:rPr lang="ru-RU" sz="1050" b="1" spc="-5" dirty="0">
                  <a:solidFill>
                    <a:srgbClr val="171717"/>
                  </a:solidFill>
                  <a:latin typeface="Carlito"/>
                  <a:cs typeface="Carlito"/>
                </a:rPr>
                <a:t>5-9 классы</a:t>
              </a:r>
              <a:endParaRPr sz="1050" b="1" dirty="0">
                <a:latin typeface="Carlito"/>
                <a:cs typeface="Carlito"/>
              </a:endParaRPr>
            </a:p>
          </p:txBody>
        </p:sp>
      </p:grpSp>
      <p:sp>
        <p:nvSpPr>
          <p:cNvPr id="95" name="object 26"/>
          <p:cNvSpPr txBox="1"/>
          <p:nvPr/>
        </p:nvSpPr>
        <p:spPr>
          <a:xfrm>
            <a:off x="3144558" y="805397"/>
            <a:ext cx="2668153" cy="34881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050" b="1" spc="-5" dirty="0">
                <a:solidFill>
                  <a:srgbClr val="2E2E2E"/>
                </a:solidFill>
                <a:latin typeface="Carlito"/>
                <a:cs typeface="Carlito"/>
              </a:rPr>
              <a:t>Обновлённая линия УМК «Роза ветров»</a:t>
            </a:r>
          </a:p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050" b="1" spc="-5" dirty="0">
                <a:solidFill>
                  <a:srgbClr val="2E2E2E"/>
                </a:solidFill>
                <a:latin typeface="Carlito"/>
                <a:cs typeface="Carlito"/>
              </a:rPr>
              <a:t>5-9 классы</a:t>
            </a:r>
          </a:p>
        </p:txBody>
      </p:sp>
      <p:sp>
        <p:nvSpPr>
          <p:cNvPr id="96" name="object 25"/>
          <p:cNvSpPr txBox="1"/>
          <p:nvPr/>
        </p:nvSpPr>
        <p:spPr>
          <a:xfrm>
            <a:off x="6270663" y="703965"/>
            <a:ext cx="2233165" cy="202620"/>
          </a:xfrm>
          <a:prstGeom prst="rect">
            <a:avLst/>
          </a:prstGeom>
        </p:spPr>
        <p:txBody>
          <a:bodyPr vert="horz" wrap="square" lIns="0" tIns="22860" rIns="0" bIns="0" rtlCol="0">
            <a:spAutoFit/>
          </a:bodyPr>
          <a:lstStyle/>
          <a:p>
            <a:pPr marL="518159" marR="5080" indent="-506095">
              <a:lnSpc>
                <a:spcPts val="1400"/>
              </a:lnSpc>
              <a:spcBef>
                <a:spcPts val="180"/>
              </a:spcBef>
            </a:pPr>
            <a:r>
              <a:rPr sz="1050" b="1" spc="-5" dirty="0">
                <a:solidFill>
                  <a:srgbClr val="171717"/>
                </a:solidFill>
                <a:latin typeface="Carlito"/>
                <a:cs typeface="Carlito"/>
              </a:rPr>
              <a:t>Линия </a:t>
            </a:r>
            <a:r>
              <a:rPr sz="1050" b="1" dirty="0">
                <a:solidFill>
                  <a:srgbClr val="171717"/>
                </a:solidFill>
                <a:latin typeface="Carlito"/>
                <a:cs typeface="Carlito"/>
              </a:rPr>
              <a:t>УМК </a:t>
            </a:r>
            <a:r>
              <a:rPr sz="1050" b="1" spc="-5" dirty="0">
                <a:solidFill>
                  <a:srgbClr val="171717"/>
                </a:solidFill>
                <a:latin typeface="Carlito"/>
                <a:cs typeface="Carlito"/>
              </a:rPr>
              <a:t>«</a:t>
            </a:r>
            <a:r>
              <a:rPr lang="ru-RU" sz="1050" b="1" spc="-5" dirty="0">
                <a:solidFill>
                  <a:srgbClr val="171717"/>
                </a:solidFill>
                <a:latin typeface="Carlito"/>
                <a:cs typeface="Carlito"/>
              </a:rPr>
              <a:t>Сферы</a:t>
            </a:r>
            <a:r>
              <a:rPr sz="1050" b="1" spc="-5" dirty="0">
                <a:solidFill>
                  <a:srgbClr val="171717"/>
                </a:solidFill>
                <a:latin typeface="Carlito"/>
                <a:cs typeface="Carlito"/>
              </a:rPr>
              <a:t>»</a:t>
            </a:r>
            <a:r>
              <a:rPr lang="ru-RU" sz="1050" b="1" spc="-5" dirty="0">
                <a:solidFill>
                  <a:srgbClr val="171717"/>
                </a:solidFill>
                <a:latin typeface="Carlito"/>
                <a:cs typeface="Carlito"/>
              </a:rPr>
              <a:t> 5-9 классы  </a:t>
            </a:r>
          </a:p>
        </p:txBody>
      </p:sp>
      <p:pic>
        <p:nvPicPr>
          <p:cNvPr id="97" name="Рисунок 96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1834" y="1260841"/>
            <a:ext cx="776597" cy="1041012"/>
          </a:xfrm>
          <a:prstGeom prst="rect">
            <a:avLst/>
          </a:prstGeom>
        </p:spPr>
      </p:pic>
      <p:pic>
        <p:nvPicPr>
          <p:cNvPr id="98" name="Рисунок 97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9735" y="1401777"/>
            <a:ext cx="788810" cy="1041012"/>
          </a:xfrm>
          <a:prstGeom prst="rect">
            <a:avLst/>
          </a:prstGeom>
        </p:spPr>
      </p:pic>
      <p:pic>
        <p:nvPicPr>
          <p:cNvPr id="99" name="Рисунок 98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5632" y="1662652"/>
            <a:ext cx="774963" cy="1041011"/>
          </a:xfrm>
          <a:prstGeom prst="rect">
            <a:avLst/>
          </a:prstGeom>
        </p:spPr>
      </p:pic>
      <p:pic>
        <p:nvPicPr>
          <p:cNvPr id="100" name="Рисунок 99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3248" y="1884623"/>
            <a:ext cx="788104" cy="1040081"/>
          </a:xfrm>
          <a:prstGeom prst="rect">
            <a:avLst/>
          </a:prstGeom>
        </p:spPr>
      </p:pic>
      <p:pic>
        <p:nvPicPr>
          <p:cNvPr id="101" name="Picture 2" descr="География. 5 класс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35081" y="1248007"/>
            <a:ext cx="809583" cy="10790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" name="Picture 4" descr="География. 6 класс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76039" y="1417053"/>
            <a:ext cx="803589" cy="10790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" name="Picture 6" descr="География. 7 класс"/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76940" y="1571120"/>
            <a:ext cx="832769" cy="11027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" name="Picture 8" descr="География. 8 класс"/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8282" y="1715477"/>
            <a:ext cx="807406" cy="10825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" name="Picture 10" descr="География. 9 класс"/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66765" y="1829686"/>
            <a:ext cx="801881" cy="10859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8896429" y="708366"/>
            <a:ext cx="2458045" cy="4154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50" b="1" spc="-5" dirty="0">
                <a:solidFill>
                  <a:srgbClr val="171717"/>
                </a:solidFill>
                <a:latin typeface="Carlito"/>
                <a:cs typeface="Carlito"/>
              </a:rPr>
              <a:t>Линия </a:t>
            </a:r>
            <a:r>
              <a:rPr lang="ru-RU" sz="1050" b="1" dirty="0">
                <a:solidFill>
                  <a:srgbClr val="171717"/>
                </a:solidFill>
                <a:latin typeface="Carlito"/>
                <a:cs typeface="Carlito"/>
              </a:rPr>
              <a:t>УМК </a:t>
            </a:r>
            <a:r>
              <a:rPr lang="ru-RU" sz="1050" b="1" spc="-15" dirty="0">
                <a:solidFill>
                  <a:srgbClr val="171717"/>
                </a:solidFill>
                <a:latin typeface="Carlito"/>
                <a:cs typeface="Carlito"/>
              </a:rPr>
              <a:t>под </a:t>
            </a:r>
            <a:r>
              <a:rPr lang="ru-RU" sz="1050" b="1" spc="-5" dirty="0">
                <a:solidFill>
                  <a:srgbClr val="171717"/>
                </a:solidFill>
                <a:latin typeface="Carlito"/>
                <a:cs typeface="Carlito"/>
              </a:rPr>
              <a:t>ред. Дронова</a:t>
            </a:r>
            <a:r>
              <a:rPr lang="ru-RU" sz="1050" b="1" spc="-15" dirty="0">
                <a:solidFill>
                  <a:srgbClr val="171717"/>
                </a:solidFill>
                <a:latin typeface="Carlito"/>
                <a:cs typeface="Carlito"/>
              </a:rPr>
              <a:t> </a:t>
            </a:r>
            <a:r>
              <a:rPr lang="ru-RU" sz="1050" b="1" spc="-5" dirty="0">
                <a:solidFill>
                  <a:srgbClr val="171717"/>
                </a:solidFill>
                <a:latin typeface="Carlito"/>
                <a:cs typeface="Carlito"/>
              </a:rPr>
              <a:t>В.</a:t>
            </a:r>
            <a:r>
              <a:rPr lang="ru-RU" sz="1050" b="1" dirty="0">
                <a:latin typeface="Carlito"/>
              </a:rPr>
              <a:t> </a:t>
            </a:r>
            <a:r>
              <a:rPr lang="ru-RU" sz="1050" b="1" spc="-5" dirty="0">
                <a:solidFill>
                  <a:srgbClr val="171717"/>
                </a:solidFill>
                <a:latin typeface="Carlito"/>
                <a:cs typeface="Carlito"/>
              </a:rPr>
              <a:t>П.</a:t>
            </a:r>
          </a:p>
          <a:p>
            <a:r>
              <a:rPr lang="ru-RU" sz="1050" b="1" dirty="0">
                <a:latin typeface="Carlito"/>
              </a:rPr>
              <a:t>5-9 классы </a:t>
            </a:r>
            <a:endParaRPr lang="ru-RU" sz="1050" dirty="0"/>
          </a:p>
        </p:txBody>
      </p:sp>
      <p:sp>
        <p:nvSpPr>
          <p:cNvPr id="106" name="object 22"/>
          <p:cNvSpPr txBox="1"/>
          <p:nvPr/>
        </p:nvSpPr>
        <p:spPr>
          <a:xfrm>
            <a:off x="3543323" y="3577819"/>
            <a:ext cx="4265550" cy="612988"/>
          </a:xfrm>
          <a:prstGeom prst="rect">
            <a:avLst/>
          </a:prstGeom>
        </p:spPr>
        <p:txBody>
          <a:bodyPr vert="horz" wrap="square" lIns="0" tIns="22860" rIns="0" bIns="0" rtlCol="0">
            <a:spAutoFit/>
          </a:bodyPr>
          <a:lstStyle/>
          <a:p>
            <a:pPr marL="411480" marR="5080" indent="-399415">
              <a:lnSpc>
                <a:spcPts val="1400"/>
              </a:lnSpc>
              <a:spcBef>
                <a:spcPts val="180"/>
              </a:spcBef>
            </a:pPr>
            <a:r>
              <a:rPr sz="1200" b="1" spc="-5" dirty="0" err="1">
                <a:solidFill>
                  <a:srgbClr val="2E2E2E"/>
                </a:solidFill>
                <a:latin typeface="Carlito"/>
                <a:cs typeface="Carlito"/>
              </a:rPr>
              <a:t>Линия</a:t>
            </a:r>
            <a:r>
              <a:rPr sz="1200" b="1" spc="-5" dirty="0">
                <a:solidFill>
                  <a:srgbClr val="2E2E2E"/>
                </a:solidFill>
                <a:latin typeface="Carlito"/>
                <a:cs typeface="Carlito"/>
              </a:rPr>
              <a:t> </a:t>
            </a:r>
            <a:r>
              <a:rPr sz="1200" b="1" dirty="0">
                <a:solidFill>
                  <a:srgbClr val="2E2E2E"/>
                </a:solidFill>
                <a:latin typeface="Carlito"/>
                <a:cs typeface="Carlito"/>
              </a:rPr>
              <a:t>УМК </a:t>
            </a:r>
            <a:r>
              <a:rPr sz="1200" b="1" spc="-5" dirty="0">
                <a:solidFill>
                  <a:srgbClr val="2E2E2E"/>
                </a:solidFill>
                <a:latin typeface="Carlito"/>
                <a:cs typeface="Carlito"/>
              </a:rPr>
              <a:t> </a:t>
            </a:r>
            <a:r>
              <a:rPr lang="ru-RU" sz="1200" b="1" spc="-5" dirty="0" err="1">
                <a:solidFill>
                  <a:srgbClr val="2E2E2E"/>
                </a:solidFill>
                <a:latin typeface="Carlito"/>
                <a:cs typeface="Carlito"/>
              </a:rPr>
              <a:t>под.ред</a:t>
            </a:r>
            <a:r>
              <a:rPr lang="ru-RU" sz="1200" b="1" spc="-5" dirty="0">
                <a:solidFill>
                  <a:srgbClr val="2E2E2E"/>
                </a:solidFill>
                <a:latin typeface="Carlito"/>
                <a:cs typeface="Carlito"/>
              </a:rPr>
              <a:t>. </a:t>
            </a:r>
            <a:r>
              <a:rPr lang="ru-RU" sz="1200" b="1" spc="-15" dirty="0">
                <a:solidFill>
                  <a:srgbClr val="2E2E2E"/>
                </a:solidFill>
                <a:latin typeface="Carlito"/>
                <a:cs typeface="Carlito"/>
              </a:rPr>
              <a:t>О. </a:t>
            </a:r>
            <a:r>
              <a:rPr lang="ru-RU" sz="1200" b="1" dirty="0">
                <a:solidFill>
                  <a:srgbClr val="2E2E2E"/>
                </a:solidFill>
                <a:latin typeface="Carlito"/>
                <a:cs typeface="Carlito"/>
              </a:rPr>
              <a:t>А., </a:t>
            </a:r>
            <a:r>
              <a:rPr sz="1200" b="1" spc="-5" dirty="0" err="1">
                <a:solidFill>
                  <a:srgbClr val="2E2E2E"/>
                </a:solidFill>
                <a:latin typeface="Carlito"/>
                <a:cs typeface="Carlito"/>
              </a:rPr>
              <a:t>Климановой</a:t>
            </a:r>
            <a:r>
              <a:rPr lang="ru-RU" sz="1200" b="1" spc="-5" dirty="0">
                <a:solidFill>
                  <a:srgbClr val="2E2E2E"/>
                </a:solidFill>
                <a:latin typeface="Carlito"/>
                <a:cs typeface="Carlito"/>
              </a:rPr>
              <a:t>,</a:t>
            </a:r>
            <a:r>
              <a:rPr sz="1200" b="1" spc="-5" dirty="0">
                <a:solidFill>
                  <a:srgbClr val="2E2E2E"/>
                </a:solidFill>
                <a:latin typeface="Carlito"/>
                <a:cs typeface="Carlito"/>
              </a:rPr>
              <a:t> </a:t>
            </a:r>
            <a:r>
              <a:rPr lang="ru-RU" sz="1200" b="1" spc="5" dirty="0">
                <a:solidFill>
                  <a:srgbClr val="2E2E2E"/>
                </a:solidFill>
                <a:latin typeface="Carlito"/>
                <a:cs typeface="Carlito"/>
              </a:rPr>
              <a:t>А.</a:t>
            </a:r>
            <a:r>
              <a:rPr lang="ru-RU" sz="1200" b="1" spc="15" dirty="0">
                <a:solidFill>
                  <a:srgbClr val="2E2E2E"/>
                </a:solidFill>
                <a:latin typeface="Carlito"/>
                <a:cs typeface="Carlito"/>
              </a:rPr>
              <a:t> </a:t>
            </a:r>
            <a:r>
              <a:rPr lang="ru-RU" sz="1200" b="1" dirty="0">
                <a:solidFill>
                  <a:srgbClr val="2E2E2E"/>
                </a:solidFill>
                <a:latin typeface="Carlito"/>
                <a:cs typeface="Carlito"/>
              </a:rPr>
              <a:t>И.</a:t>
            </a:r>
            <a:r>
              <a:rPr lang="ru-RU" sz="1200" b="1" dirty="0">
                <a:latin typeface="Carlito"/>
                <a:cs typeface="Carlito"/>
              </a:rPr>
              <a:t> </a:t>
            </a:r>
            <a:r>
              <a:rPr sz="1200" b="1" spc="-5" dirty="0" err="1">
                <a:solidFill>
                  <a:srgbClr val="2E2E2E"/>
                </a:solidFill>
                <a:latin typeface="Carlito"/>
                <a:cs typeface="Carlito"/>
              </a:rPr>
              <a:t>Алексеева</a:t>
            </a:r>
            <a:endParaRPr lang="ru-RU" sz="1200" b="1" spc="-5" dirty="0">
              <a:solidFill>
                <a:srgbClr val="2E2E2E"/>
              </a:solidFill>
              <a:latin typeface="Carlito"/>
              <a:cs typeface="Carlito"/>
            </a:endParaRPr>
          </a:p>
          <a:p>
            <a:pPr marL="411480" marR="5080" indent="-399415">
              <a:lnSpc>
                <a:spcPts val="1400"/>
              </a:lnSpc>
              <a:spcBef>
                <a:spcPts val="180"/>
              </a:spcBef>
            </a:pPr>
            <a:r>
              <a:rPr lang="ru-RU" sz="1200" b="1" dirty="0">
                <a:latin typeface="Carlito"/>
                <a:cs typeface="Carlito"/>
              </a:rPr>
              <a:t>5-9 классы</a:t>
            </a:r>
          </a:p>
          <a:p>
            <a:pPr marL="411480" marR="5080" indent="-399415">
              <a:lnSpc>
                <a:spcPts val="1400"/>
              </a:lnSpc>
              <a:spcBef>
                <a:spcPts val="180"/>
              </a:spcBef>
            </a:pPr>
            <a:endParaRPr sz="1200" b="1" dirty="0">
              <a:latin typeface="Carlito"/>
              <a:cs typeface="Carlito"/>
            </a:endParaRPr>
          </a:p>
        </p:txBody>
      </p:sp>
      <p:sp>
        <p:nvSpPr>
          <p:cNvPr id="107" name="object 28"/>
          <p:cNvSpPr txBox="1"/>
          <p:nvPr/>
        </p:nvSpPr>
        <p:spPr>
          <a:xfrm>
            <a:off x="4417245" y="6002663"/>
            <a:ext cx="2005643" cy="203902"/>
          </a:xfrm>
          <a:prstGeom prst="rect">
            <a:avLst/>
          </a:prstGeom>
          <a:solidFill>
            <a:srgbClr val="2C3493"/>
          </a:solidFill>
        </p:spPr>
        <p:txBody>
          <a:bodyPr vert="horz" wrap="square" lIns="0" tIns="49530" rIns="0" bIns="0" rtlCol="0">
            <a:spAutoFit/>
          </a:bodyPr>
          <a:lstStyle/>
          <a:p>
            <a:pPr marL="1270">
              <a:lnSpc>
                <a:spcPct val="100000"/>
              </a:lnSpc>
              <a:spcBef>
                <a:spcPts val="390"/>
              </a:spcBef>
            </a:pPr>
            <a:r>
              <a:rPr lang="en-US" sz="1000" b="1" spc="-5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1000" b="1" spc="-5" dirty="0">
                <a:solidFill>
                  <a:srgbClr val="FFFFFF"/>
                </a:solidFill>
                <a:latin typeface="Carlito"/>
                <a:cs typeface="Carlito"/>
              </a:rPr>
              <a:t>ФП № 1</a:t>
            </a:r>
            <a:r>
              <a:rPr lang="ru-RU" sz="1000" b="1" spc="-5" dirty="0">
                <a:solidFill>
                  <a:srgbClr val="FFFFFF"/>
                </a:solidFill>
                <a:latin typeface="Carlito"/>
                <a:cs typeface="Carlito"/>
              </a:rPr>
              <a:t>.1</a:t>
            </a:r>
            <a:r>
              <a:rPr sz="1000" b="1" spc="-5" dirty="0">
                <a:solidFill>
                  <a:srgbClr val="FFFFFF"/>
                </a:solidFill>
                <a:latin typeface="Carlito"/>
                <a:cs typeface="Carlito"/>
              </a:rPr>
              <a:t>.2.3.4.2.1</a:t>
            </a:r>
            <a:r>
              <a:rPr sz="1000" b="1" spc="5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1000" b="1" spc="-5" dirty="0">
                <a:solidFill>
                  <a:srgbClr val="FFFFFF"/>
                </a:solidFill>
                <a:latin typeface="Carlito"/>
                <a:cs typeface="Carlito"/>
              </a:rPr>
              <a:t>–</a:t>
            </a:r>
            <a:r>
              <a:rPr lang="en-US" sz="1000" b="1" dirty="0">
                <a:latin typeface="Carlito"/>
                <a:cs typeface="Carlito"/>
              </a:rPr>
              <a:t> </a:t>
            </a:r>
            <a:r>
              <a:rPr sz="1000" b="1" spc="-5" dirty="0">
                <a:solidFill>
                  <a:srgbClr val="FFFFFF"/>
                </a:solidFill>
                <a:latin typeface="Carlito"/>
                <a:cs typeface="Carlito"/>
              </a:rPr>
              <a:t>1</a:t>
            </a:r>
            <a:r>
              <a:rPr lang="ru-RU" sz="1000" b="1" spc="-5" dirty="0">
                <a:solidFill>
                  <a:srgbClr val="FFFFFF"/>
                </a:solidFill>
                <a:latin typeface="Carlito"/>
                <a:cs typeface="Carlito"/>
              </a:rPr>
              <a:t>.1</a:t>
            </a:r>
            <a:r>
              <a:rPr sz="1000" b="1" spc="-5" dirty="0">
                <a:solidFill>
                  <a:srgbClr val="FFFFFF"/>
                </a:solidFill>
                <a:latin typeface="Carlito"/>
                <a:cs typeface="Carlito"/>
              </a:rPr>
              <a:t>.2.3.4.2.4</a:t>
            </a:r>
            <a:endParaRPr lang="en-US" sz="1000" b="1" spc="-5" dirty="0">
              <a:solidFill>
                <a:srgbClr val="FFFFFF"/>
              </a:solidFill>
              <a:latin typeface="Carlito"/>
              <a:cs typeface="Carlito"/>
            </a:endParaRPr>
          </a:p>
        </p:txBody>
      </p:sp>
      <p:sp>
        <p:nvSpPr>
          <p:cNvPr id="108" name="object 75"/>
          <p:cNvSpPr/>
          <p:nvPr/>
        </p:nvSpPr>
        <p:spPr>
          <a:xfrm>
            <a:off x="5943541" y="4480015"/>
            <a:ext cx="892534" cy="1251872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  <a:ln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9" name="object 78"/>
          <p:cNvSpPr/>
          <p:nvPr/>
        </p:nvSpPr>
        <p:spPr>
          <a:xfrm>
            <a:off x="5260216" y="4323225"/>
            <a:ext cx="892532" cy="1251872"/>
          </a:xfrm>
          <a:prstGeom prst="rect">
            <a:avLst/>
          </a:prstGeom>
          <a:blipFill>
            <a:blip r:embed="rId27" cstate="print"/>
            <a:stretch>
              <a:fillRect/>
            </a:stretch>
          </a:blipFill>
          <a:ln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0" name="object 81"/>
          <p:cNvSpPr/>
          <p:nvPr/>
        </p:nvSpPr>
        <p:spPr>
          <a:xfrm>
            <a:off x="4740892" y="4231879"/>
            <a:ext cx="890618" cy="1249843"/>
          </a:xfrm>
          <a:prstGeom prst="rect">
            <a:avLst/>
          </a:prstGeom>
          <a:blipFill>
            <a:blip r:embed="rId28" cstate="print"/>
            <a:stretch>
              <a:fillRect/>
            </a:stretch>
          </a:blipFill>
          <a:ln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1" name="object 84"/>
          <p:cNvSpPr/>
          <p:nvPr/>
        </p:nvSpPr>
        <p:spPr>
          <a:xfrm>
            <a:off x="4149550" y="4125241"/>
            <a:ext cx="917431" cy="1251872"/>
          </a:xfrm>
          <a:prstGeom prst="rect">
            <a:avLst/>
          </a:prstGeom>
          <a:blipFill>
            <a:blip r:embed="rId29" cstate="print"/>
            <a:stretch>
              <a:fillRect/>
            </a:stretch>
          </a:blipFill>
          <a:ln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rtlCol="0"/>
          <a:lstStyle/>
          <a:p>
            <a:r>
              <a:rPr lang="ru-RU" dirty="0"/>
              <a:t>                   </a:t>
            </a:r>
            <a:endParaRPr dirty="0"/>
          </a:p>
        </p:txBody>
      </p:sp>
      <p:sp>
        <p:nvSpPr>
          <p:cNvPr id="74" name="object 29"/>
          <p:cNvSpPr txBox="1"/>
          <p:nvPr/>
        </p:nvSpPr>
        <p:spPr>
          <a:xfrm>
            <a:off x="9266101" y="3029006"/>
            <a:ext cx="2344361" cy="155171"/>
          </a:xfrm>
          <a:prstGeom prst="rect">
            <a:avLst/>
          </a:prstGeom>
          <a:solidFill>
            <a:srgbClr val="2C3493"/>
          </a:solidFill>
        </p:spPr>
        <p:txBody>
          <a:bodyPr vert="horz" wrap="square" lIns="0" tIns="1270" rIns="0" bIns="0" rtlCol="0">
            <a:spAutoFit/>
          </a:bodyPr>
          <a:lstStyle/>
          <a:p>
            <a:pPr marL="255904">
              <a:lnSpc>
                <a:spcPct val="100000"/>
              </a:lnSpc>
              <a:spcBef>
                <a:spcPts val="5"/>
              </a:spcBef>
            </a:pPr>
            <a:r>
              <a:rPr sz="1000" b="1" spc="-5" dirty="0">
                <a:solidFill>
                  <a:srgbClr val="FFFFFF"/>
                </a:solidFill>
                <a:latin typeface="Carlito"/>
                <a:cs typeface="Carlito"/>
              </a:rPr>
              <a:t>ФП</a:t>
            </a:r>
            <a:r>
              <a:rPr sz="1000" b="1" spc="-15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1000" b="1" spc="-10" dirty="0">
                <a:solidFill>
                  <a:srgbClr val="FFFFFF"/>
                </a:solidFill>
                <a:latin typeface="Carlito"/>
                <a:cs typeface="Carlito"/>
              </a:rPr>
              <a:t>№</a:t>
            </a:r>
            <a:r>
              <a:rPr lang="ru-RU" sz="1000" b="1" spc="-10" dirty="0">
                <a:solidFill>
                  <a:srgbClr val="FFFFFF"/>
                </a:solidFill>
                <a:latin typeface="Carlito"/>
                <a:cs typeface="Carlito"/>
              </a:rPr>
              <a:t> 1.1.2.3.4.7.1- № 1.1.2.3.4.7.5</a:t>
            </a:r>
          </a:p>
        </p:txBody>
      </p:sp>
      <p:sp>
        <p:nvSpPr>
          <p:cNvPr id="75" name="object 29"/>
          <p:cNvSpPr txBox="1"/>
          <p:nvPr/>
        </p:nvSpPr>
        <p:spPr>
          <a:xfrm>
            <a:off x="6422888" y="3039244"/>
            <a:ext cx="2344361" cy="155171"/>
          </a:xfrm>
          <a:prstGeom prst="rect">
            <a:avLst/>
          </a:prstGeom>
          <a:solidFill>
            <a:srgbClr val="2C3493"/>
          </a:solidFill>
        </p:spPr>
        <p:txBody>
          <a:bodyPr vert="horz" wrap="square" lIns="0" tIns="1270" rIns="0" bIns="0" rtlCol="0">
            <a:spAutoFit/>
          </a:bodyPr>
          <a:lstStyle/>
          <a:p>
            <a:pPr marL="255904">
              <a:lnSpc>
                <a:spcPct val="100000"/>
              </a:lnSpc>
              <a:spcBef>
                <a:spcPts val="5"/>
              </a:spcBef>
            </a:pPr>
            <a:r>
              <a:rPr sz="1000" b="1" spc="-5" dirty="0">
                <a:solidFill>
                  <a:srgbClr val="FFFFFF"/>
                </a:solidFill>
                <a:latin typeface="Carlito"/>
                <a:cs typeface="Carlito"/>
              </a:rPr>
              <a:t>ФП</a:t>
            </a:r>
            <a:r>
              <a:rPr sz="1000" b="1" spc="-15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1000" b="1" spc="-10" dirty="0">
                <a:solidFill>
                  <a:srgbClr val="FFFFFF"/>
                </a:solidFill>
                <a:latin typeface="Carlito"/>
                <a:cs typeface="Carlito"/>
              </a:rPr>
              <a:t>№</a:t>
            </a:r>
            <a:r>
              <a:rPr lang="ru-RU" sz="1000" b="1" spc="-10" dirty="0">
                <a:solidFill>
                  <a:srgbClr val="FFFFFF"/>
                </a:solidFill>
                <a:latin typeface="Carlito"/>
                <a:cs typeface="Carlito"/>
              </a:rPr>
              <a:t> 1.1.2.3.4.8.1- № 1.1.2.3.4.8.4</a:t>
            </a:r>
          </a:p>
        </p:txBody>
      </p:sp>
      <p:grpSp>
        <p:nvGrpSpPr>
          <p:cNvPr id="6" name="Группа 5">
            <a:extLst>
              <a:ext uri="{FF2B5EF4-FFF2-40B4-BE49-F238E27FC236}">
                <a16:creationId xmlns:a16="http://schemas.microsoft.com/office/drawing/2014/main" xmlns="" id="{C4FBE17A-6001-854F-84C8-0F20D608AE9B}"/>
              </a:ext>
            </a:extLst>
          </p:cNvPr>
          <p:cNvGrpSpPr/>
          <p:nvPr/>
        </p:nvGrpSpPr>
        <p:grpSpPr>
          <a:xfrm>
            <a:off x="363910" y="676700"/>
            <a:ext cx="2506617" cy="2637106"/>
            <a:chOff x="398555" y="3589934"/>
            <a:chExt cx="2506617" cy="2637106"/>
          </a:xfrm>
        </p:grpSpPr>
        <p:pic>
          <p:nvPicPr>
            <p:cNvPr id="78" name="Picture 5"/>
            <p:cNvPicPr>
              <a:picLocks noChangeAspect="1" noChangeArrowheads="1"/>
            </p:cNvPicPr>
            <p:nvPr/>
          </p:nvPicPr>
          <p:blipFill>
            <a:blip r:embed="rId30"/>
            <a:stretch/>
          </p:blipFill>
          <p:spPr bwMode="auto">
            <a:xfrm>
              <a:off x="2044203" y="4634732"/>
              <a:ext cx="860969" cy="1226134"/>
            </a:xfrm>
            <a:prstGeom prst="rect">
              <a:avLst/>
            </a:prstGeom>
            <a:ln>
              <a:noFill/>
            </a:ln>
          </p:spPr>
        </p:pic>
        <p:pic>
          <p:nvPicPr>
            <p:cNvPr id="79" name="Picture 2"/>
            <p:cNvPicPr>
              <a:picLocks noChangeAspect="1" noChangeArrowheads="1"/>
            </p:cNvPicPr>
            <p:nvPr/>
          </p:nvPicPr>
          <p:blipFill>
            <a:blip r:embed="rId31"/>
            <a:stretch/>
          </p:blipFill>
          <p:spPr bwMode="auto">
            <a:xfrm>
              <a:off x="1512003" y="4497822"/>
              <a:ext cx="911938" cy="1226134"/>
            </a:xfrm>
            <a:prstGeom prst="rect">
              <a:avLst/>
            </a:prstGeom>
            <a:ln>
              <a:noFill/>
            </a:ln>
          </p:spPr>
        </p:pic>
        <p:pic>
          <p:nvPicPr>
            <p:cNvPr id="77" name="Picture 4"/>
            <p:cNvPicPr>
              <a:picLocks noChangeAspect="1" noChangeArrowheads="1"/>
            </p:cNvPicPr>
            <p:nvPr/>
          </p:nvPicPr>
          <p:blipFill>
            <a:blip r:embed="rId32"/>
            <a:stretch/>
          </p:blipFill>
          <p:spPr bwMode="auto">
            <a:xfrm>
              <a:off x="988013" y="4363192"/>
              <a:ext cx="903547" cy="1224510"/>
            </a:xfrm>
            <a:prstGeom prst="rect">
              <a:avLst/>
            </a:prstGeom>
            <a:ln>
              <a:noFill/>
            </a:ln>
          </p:spPr>
        </p:pic>
        <p:sp>
          <p:nvSpPr>
            <p:cNvPr id="21" name="object 22"/>
            <p:cNvSpPr txBox="1"/>
            <p:nvPr/>
          </p:nvSpPr>
          <p:spPr>
            <a:xfrm>
              <a:off x="447525" y="3589934"/>
              <a:ext cx="2403414" cy="407804"/>
            </a:xfrm>
            <a:prstGeom prst="rect">
              <a:avLst/>
            </a:prstGeom>
          </p:spPr>
          <p:txBody>
            <a:bodyPr vert="horz" wrap="square" lIns="0" tIns="22860" rIns="0" bIns="0" rtlCol="0">
              <a:spAutoFit/>
            </a:bodyPr>
            <a:lstStyle/>
            <a:p>
              <a:pPr marL="411480" marR="5080" indent="-399415">
                <a:lnSpc>
                  <a:spcPts val="1400"/>
                </a:lnSpc>
                <a:spcBef>
                  <a:spcPts val="180"/>
                </a:spcBef>
              </a:pPr>
              <a:r>
                <a:rPr sz="1200" b="1" spc="-5" dirty="0">
                  <a:solidFill>
                    <a:srgbClr val="2E2E2E"/>
                  </a:solidFill>
                  <a:latin typeface="Carlito"/>
                  <a:cs typeface="Carlito"/>
                </a:rPr>
                <a:t>Линия </a:t>
              </a:r>
              <a:r>
                <a:rPr sz="1050" b="1" dirty="0">
                  <a:solidFill>
                    <a:srgbClr val="2E2E2E"/>
                  </a:solidFill>
                  <a:latin typeface="Carlito"/>
                  <a:cs typeface="Carlito"/>
                </a:rPr>
                <a:t>УМК</a:t>
              </a:r>
              <a:r>
                <a:rPr sz="1200" b="1" dirty="0">
                  <a:solidFill>
                    <a:srgbClr val="2E2E2E"/>
                  </a:solidFill>
                  <a:latin typeface="Carlito"/>
                  <a:cs typeface="Carlito"/>
                </a:rPr>
                <a:t> </a:t>
              </a:r>
              <a:r>
                <a:rPr lang="ru-RU" sz="1200" b="1" spc="-15" dirty="0">
                  <a:solidFill>
                    <a:srgbClr val="2E2E2E"/>
                  </a:solidFill>
                  <a:latin typeface="Carlito"/>
                  <a:cs typeface="Carlito"/>
                </a:rPr>
                <a:t>«Полярная звезда» </a:t>
              </a:r>
            </a:p>
            <a:p>
              <a:pPr marL="411480" marR="5080" indent="-399415">
                <a:lnSpc>
                  <a:spcPts val="1400"/>
                </a:lnSpc>
                <a:spcBef>
                  <a:spcPts val="180"/>
                </a:spcBef>
              </a:pPr>
              <a:r>
                <a:rPr lang="ru-RU" sz="1200" b="1" spc="-15" dirty="0">
                  <a:solidFill>
                    <a:srgbClr val="2E2E2E"/>
                  </a:solidFill>
                  <a:latin typeface="Carlito"/>
                  <a:cs typeface="Carlito"/>
                </a:rPr>
                <a:t>5-9 классы</a:t>
              </a:r>
              <a:endParaRPr sz="1200" b="1" dirty="0">
                <a:latin typeface="Carlito"/>
                <a:cs typeface="Carlito"/>
              </a:endParaRPr>
            </a:p>
          </p:txBody>
        </p:sp>
        <p:sp>
          <p:nvSpPr>
            <p:cNvPr id="42" name="object 39"/>
            <p:cNvSpPr txBox="1"/>
            <p:nvPr/>
          </p:nvSpPr>
          <p:spPr>
            <a:xfrm>
              <a:off x="504325" y="6071869"/>
              <a:ext cx="2182878" cy="155171"/>
            </a:xfrm>
            <a:prstGeom prst="rect">
              <a:avLst/>
            </a:prstGeom>
            <a:solidFill>
              <a:srgbClr val="2C3493"/>
            </a:solidFill>
          </p:spPr>
          <p:txBody>
            <a:bodyPr vert="horz" wrap="square" lIns="0" tIns="1270" rIns="0" bIns="0" rtlCol="0">
              <a:spAutoFit/>
            </a:bodyPr>
            <a:lstStyle/>
            <a:p>
              <a:pPr marL="199390">
                <a:lnSpc>
                  <a:spcPct val="100000"/>
                </a:lnSpc>
                <a:spcBef>
                  <a:spcPts val="5"/>
                </a:spcBef>
              </a:pPr>
              <a:r>
                <a:rPr sz="1000" b="1" spc="-5" dirty="0">
                  <a:solidFill>
                    <a:srgbClr val="FFFFFF"/>
                  </a:solidFill>
                  <a:latin typeface="Carlito"/>
                  <a:cs typeface="Carlito"/>
                </a:rPr>
                <a:t>ФП №</a:t>
              </a:r>
              <a:r>
                <a:rPr sz="1000" b="1" spc="210" dirty="0">
                  <a:solidFill>
                    <a:srgbClr val="FFFFFF"/>
                  </a:solidFill>
                  <a:latin typeface="Carlito"/>
                  <a:cs typeface="Carlito"/>
                </a:rPr>
                <a:t> </a:t>
              </a:r>
              <a:r>
                <a:rPr lang="ru-RU" sz="1000" b="1" spc="-10" dirty="0">
                  <a:solidFill>
                    <a:srgbClr val="FFFFFF"/>
                  </a:solidFill>
                  <a:latin typeface="Carlito"/>
                  <a:cs typeface="Carlito"/>
                </a:rPr>
                <a:t>1.1.2.3.4.1.1</a:t>
              </a:r>
              <a:r>
                <a:rPr lang="ru-RU" sz="1000" b="1" spc="-5" dirty="0">
                  <a:solidFill>
                    <a:srgbClr val="FFFFFF"/>
                  </a:solidFill>
                  <a:latin typeface="Carlito"/>
                  <a:cs typeface="Carlito"/>
                </a:rPr>
                <a:t> – </a:t>
              </a:r>
              <a:r>
                <a:rPr lang="ru-RU" sz="1000" b="1" spc="-10" dirty="0">
                  <a:solidFill>
                    <a:srgbClr val="FFFFFF"/>
                  </a:solidFill>
                  <a:latin typeface="Carlito"/>
                  <a:cs typeface="Carlito"/>
                </a:rPr>
                <a:t>1.1.2.3.4.1.4</a:t>
              </a:r>
              <a:endParaRPr sz="1000" dirty="0">
                <a:latin typeface="Carlito"/>
                <a:cs typeface="Carlito"/>
              </a:endParaRPr>
            </a:p>
          </p:txBody>
        </p:sp>
        <p:pic>
          <p:nvPicPr>
            <p:cNvPr id="76" name="Picture 3"/>
            <p:cNvPicPr>
              <a:picLocks noChangeAspect="1" noChangeArrowheads="1"/>
            </p:cNvPicPr>
            <p:nvPr/>
          </p:nvPicPr>
          <p:blipFill>
            <a:blip r:embed="rId33"/>
            <a:stretch/>
          </p:blipFill>
          <p:spPr bwMode="auto">
            <a:xfrm>
              <a:off x="398555" y="4281700"/>
              <a:ext cx="895023" cy="1226134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749D1E21-9358-C942-8A8F-D98538E43EA4}"/>
              </a:ext>
            </a:extLst>
          </p:cNvPr>
          <p:cNvSpPr txBox="1"/>
          <p:nvPr/>
        </p:nvSpPr>
        <p:spPr>
          <a:xfrm>
            <a:off x="8471352" y="2708021"/>
            <a:ext cx="1619577" cy="26161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ru-RU" sz="1100" dirty="0"/>
              <a:t>Не подписан приказ</a:t>
            </a:r>
          </a:p>
        </p:txBody>
      </p:sp>
    </p:spTree>
    <p:extLst>
      <p:ext uri="{BB962C8B-B14F-4D97-AF65-F5344CB8AC3E}">
        <p14:creationId xmlns:p14="http://schemas.microsoft.com/office/powerpoint/2010/main" val="56407027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Picture 2" descr="Ð£ÐÐ &quot;ÐÐµÐ¾Ð³ÑÐ°ÑÐ¸Ñ. 10-11 ÐºÐ»Ð°ÑÑÑ&quot;. ÐÐ¾Ð½ÑÑÑÐ½ÑÐµ ÐºÐ°ÑÑÑ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2149" y="3651140"/>
            <a:ext cx="1577886" cy="223285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Рисунок 5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2591" y="829232"/>
            <a:ext cx="1432995" cy="207981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430" name="Слайд think-cell" r:id="rId7" imgW="359" imgH="360" progId="TCLayout.ActiveDocument.1">
                  <p:embed/>
                </p:oleObj>
              </mc:Choice>
              <mc:Fallback>
                <p:oleObj name="Слайд think-cell" r:id="rId7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xmlns="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11375669" y="2257824"/>
            <a:ext cx="812363" cy="754751"/>
          </a:xfrm>
          <a:prstGeom prst="rect">
            <a:avLst/>
          </a:prstGeom>
          <a:solidFill>
            <a:srgbClr val="40D4E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3"/>
          <p:cNvSpPr>
            <a:spLocks noChangeArrowheads="1"/>
          </p:cNvSpPr>
          <p:nvPr/>
        </p:nvSpPr>
        <p:spPr bwMode="auto">
          <a:xfrm>
            <a:off x="11375669" y="5276823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4"/>
          <p:cNvSpPr>
            <a:spLocks noChangeArrowheads="1"/>
          </p:cNvSpPr>
          <p:nvPr/>
        </p:nvSpPr>
        <p:spPr bwMode="auto">
          <a:xfrm>
            <a:off x="11376586" y="4522072"/>
            <a:ext cx="812363" cy="754751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17"/>
          <p:cNvSpPr>
            <a:spLocks noChangeArrowheads="1"/>
          </p:cNvSpPr>
          <p:nvPr/>
        </p:nvSpPr>
        <p:spPr bwMode="auto">
          <a:xfrm>
            <a:off x="11375670" y="-4589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19"/>
          <p:cNvSpPr>
            <a:spLocks noChangeArrowheads="1"/>
          </p:cNvSpPr>
          <p:nvPr/>
        </p:nvSpPr>
        <p:spPr bwMode="auto">
          <a:xfrm>
            <a:off x="11376586" y="3012572"/>
            <a:ext cx="812363" cy="754751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1"/>
          <p:cNvSpPr>
            <a:spLocks noChangeArrowheads="1"/>
          </p:cNvSpPr>
          <p:nvPr/>
        </p:nvSpPr>
        <p:spPr bwMode="auto">
          <a:xfrm>
            <a:off x="11376586" y="6031572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2"/>
          <p:cNvSpPr>
            <a:spLocks noChangeArrowheads="1"/>
          </p:cNvSpPr>
          <p:nvPr/>
        </p:nvSpPr>
        <p:spPr bwMode="auto">
          <a:xfrm>
            <a:off x="11375670" y="1502768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2" name="Rectangle 25"/>
          <p:cNvSpPr>
            <a:spLocks noChangeArrowheads="1"/>
          </p:cNvSpPr>
          <p:nvPr/>
        </p:nvSpPr>
        <p:spPr bwMode="auto">
          <a:xfrm>
            <a:off x="11376586" y="3767322"/>
            <a:ext cx="812363" cy="754751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29"/>
          <p:cNvSpPr>
            <a:spLocks noChangeArrowheads="1"/>
          </p:cNvSpPr>
          <p:nvPr/>
        </p:nvSpPr>
        <p:spPr bwMode="auto">
          <a:xfrm>
            <a:off x="11375670" y="748019"/>
            <a:ext cx="812363" cy="754751"/>
          </a:xfrm>
          <a:prstGeom prst="rect">
            <a:avLst/>
          </a:prstGeom>
          <a:solidFill>
            <a:srgbClr val="9ED44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2"/>
          <p:cNvSpPr>
            <a:spLocks noEditPoints="1"/>
          </p:cNvSpPr>
          <p:nvPr/>
        </p:nvSpPr>
        <p:spPr bwMode="auto">
          <a:xfrm>
            <a:off x="11600809" y="2514255"/>
            <a:ext cx="362085" cy="271895"/>
          </a:xfrm>
          <a:custGeom>
            <a:avLst/>
            <a:gdLst>
              <a:gd name="T0" fmla="*/ 787 w 859"/>
              <a:gd name="T1" fmla="*/ 107 h 644"/>
              <a:gd name="T2" fmla="*/ 787 w 859"/>
              <a:gd name="T3" fmla="*/ 573 h 644"/>
              <a:gd name="T4" fmla="*/ 537 w 859"/>
              <a:gd name="T5" fmla="*/ 573 h 644"/>
              <a:gd name="T6" fmla="*/ 465 w 859"/>
              <a:gd name="T7" fmla="*/ 644 h 644"/>
              <a:gd name="T8" fmla="*/ 859 w 859"/>
              <a:gd name="T9" fmla="*/ 644 h 644"/>
              <a:gd name="T10" fmla="*/ 859 w 859"/>
              <a:gd name="T11" fmla="*/ 107 h 644"/>
              <a:gd name="T12" fmla="*/ 787 w 859"/>
              <a:gd name="T13" fmla="*/ 107 h 644"/>
              <a:gd name="T14" fmla="*/ 476 w 859"/>
              <a:gd name="T15" fmla="*/ 476 h 644"/>
              <a:gd name="T16" fmla="*/ 383 w 859"/>
              <a:gd name="T17" fmla="*/ 476 h 644"/>
              <a:gd name="T18" fmla="*/ 373 w 859"/>
              <a:gd name="T19" fmla="*/ 465 h 644"/>
              <a:gd name="T20" fmla="*/ 179 w 859"/>
              <a:gd name="T21" fmla="*/ 465 h 644"/>
              <a:gd name="T22" fmla="*/ 179 w 859"/>
              <a:gd name="T23" fmla="*/ 71 h 644"/>
              <a:gd name="T24" fmla="*/ 344 w 859"/>
              <a:gd name="T25" fmla="*/ 71 h 644"/>
              <a:gd name="T26" fmla="*/ 393 w 859"/>
              <a:gd name="T27" fmla="*/ 96 h 644"/>
              <a:gd name="T28" fmla="*/ 393 w 859"/>
              <a:gd name="T29" fmla="*/ 358 h 644"/>
              <a:gd name="T30" fmla="*/ 465 w 859"/>
              <a:gd name="T31" fmla="*/ 358 h 644"/>
              <a:gd name="T32" fmla="*/ 465 w 859"/>
              <a:gd name="T33" fmla="*/ 96 h 644"/>
              <a:gd name="T34" fmla="*/ 515 w 859"/>
              <a:gd name="T35" fmla="*/ 71 h 644"/>
              <a:gd name="T36" fmla="*/ 680 w 859"/>
              <a:gd name="T37" fmla="*/ 71 h 644"/>
              <a:gd name="T38" fmla="*/ 680 w 859"/>
              <a:gd name="T39" fmla="*/ 465 h 644"/>
              <a:gd name="T40" fmla="*/ 486 w 859"/>
              <a:gd name="T41" fmla="*/ 465 h 644"/>
              <a:gd name="T42" fmla="*/ 476 w 859"/>
              <a:gd name="T43" fmla="*/ 476 h 644"/>
              <a:gd name="T44" fmla="*/ 752 w 859"/>
              <a:gd name="T45" fmla="*/ 537 h 644"/>
              <a:gd name="T46" fmla="*/ 752 w 859"/>
              <a:gd name="T47" fmla="*/ 0 h 644"/>
              <a:gd name="T48" fmla="*/ 486 w 859"/>
              <a:gd name="T49" fmla="*/ 0 h 644"/>
              <a:gd name="T50" fmla="*/ 476 w 859"/>
              <a:gd name="T51" fmla="*/ 10 h 644"/>
              <a:gd name="T52" fmla="*/ 383 w 859"/>
              <a:gd name="T53" fmla="*/ 10 h 644"/>
              <a:gd name="T54" fmla="*/ 373 w 859"/>
              <a:gd name="T55" fmla="*/ 0 h 644"/>
              <a:gd name="T56" fmla="*/ 107 w 859"/>
              <a:gd name="T57" fmla="*/ 0 h 644"/>
              <a:gd name="T58" fmla="*/ 107 w 859"/>
              <a:gd name="T59" fmla="*/ 537 h 644"/>
              <a:gd name="T60" fmla="*/ 344 w 859"/>
              <a:gd name="T61" fmla="*/ 537 h 644"/>
              <a:gd name="T62" fmla="*/ 429 w 859"/>
              <a:gd name="T63" fmla="*/ 566 h 644"/>
              <a:gd name="T64" fmla="*/ 515 w 859"/>
              <a:gd name="T65" fmla="*/ 537 h 644"/>
              <a:gd name="T66" fmla="*/ 752 w 859"/>
              <a:gd name="T67" fmla="*/ 537 h 644"/>
              <a:gd name="T68" fmla="*/ 71 w 859"/>
              <a:gd name="T69" fmla="*/ 573 h 644"/>
              <a:gd name="T70" fmla="*/ 71 w 859"/>
              <a:gd name="T71" fmla="*/ 107 h 644"/>
              <a:gd name="T72" fmla="*/ 0 w 859"/>
              <a:gd name="T73" fmla="*/ 107 h 644"/>
              <a:gd name="T74" fmla="*/ 0 w 859"/>
              <a:gd name="T75" fmla="*/ 644 h 644"/>
              <a:gd name="T76" fmla="*/ 394 w 859"/>
              <a:gd name="T77" fmla="*/ 644 h 644"/>
              <a:gd name="T78" fmla="*/ 322 w 859"/>
              <a:gd name="T79" fmla="*/ 573 h 644"/>
              <a:gd name="T80" fmla="*/ 71 w 859"/>
              <a:gd name="T81" fmla="*/ 573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9" h="644">
                <a:moveTo>
                  <a:pt x="787" y="107"/>
                </a:moveTo>
                <a:lnTo>
                  <a:pt x="787" y="573"/>
                </a:lnTo>
                <a:lnTo>
                  <a:pt x="537" y="573"/>
                </a:lnTo>
                <a:lnTo>
                  <a:pt x="465" y="644"/>
                </a:lnTo>
                <a:lnTo>
                  <a:pt x="859" y="644"/>
                </a:lnTo>
                <a:lnTo>
                  <a:pt x="859" y="107"/>
                </a:lnTo>
                <a:lnTo>
                  <a:pt x="787" y="107"/>
                </a:lnTo>
                <a:close/>
                <a:moveTo>
                  <a:pt x="476" y="476"/>
                </a:moveTo>
                <a:cubicBezTo>
                  <a:pt x="450" y="501"/>
                  <a:pt x="409" y="501"/>
                  <a:pt x="383" y="476"/>
                </a:cubicBezTo>
                <a:lnTo>
                  <a:pt x="373" y="465"/>
                </a:lnTo>
                <a:lnTo>
                  <a:pt x="179" y="465"/>
                </a:lnTo>
                <a:lnTo>
                  <a:pt x="179" y="71"/>
                </a:lnTo>
                <a:lnTo>
                  <a:pt x="344" y="71"/>
                </a:lnTo>
                <a:cubicBezTo>
                  <a:pt x="359" y="71"/>
                  <a:pt x="393" y="91"/>
                  <a:pt x="393" y="96"/>
                </a:cubicBezTo>
                <a:lnTo>
                  <a:pt x="393" y="358"/>
                </a:lnTo>
                <a:lnTo>
                  <a:pt x="465" y="358"/>
                </a:lnTo>
                <a:lnTo>
                  <a:pt x="465" y="96"/>
                </a:lnTo>
                <a:cubicBezTo>
                  <a:pt x="465" y="91"/>
                  <a:pt x="500" y="71"/>
                  <a:pt x="515" y="71"/>
                </a:cubicBezTo>
                <a:lnTo>
                  <a:pt x="680" y="71"/>
                </a:lnTo>
                <a:lnTo>
                  <a:pt x="680" y="465"/>
                </a:lnTo>
                <a:lnTo>
                  <a:pt x="486" y="465"/>
                </a:lnTo>
                <a:lnTo>
                  <a:pt x="476" y="476"/>
                </a:lnTo>
                <a:close/>
                <a:moveTo>
                  <a:pt x="752" y="537"/>
                </a:moveTo>
                <a:lnTo>
                  <a:pt x="752" y="0"/>
                </a:lnTo>
                <a:lnTo>
                  <a:pt x="486" y="0"/>
                </a:lnTo>
                <a:lnTo>
                  <a:pt x="476" y="10"/>
                </a:lnTo>
                <a:cubicBezTo>
                  <a:pt x="450" y="36"/>
                  <a:pt x="409" y="36"/>
                  <a:pt x="383" y="10"/>
                </a:cubicBezTo>
                <a:lnTo>
                  <a:pt x="373" y="0"/>
                </a:lnTo>
                <a:lnTo>
                  <a:pt x="107" y="0"/>
                </a:lnTo>
                <a:lnTo>
                  <a:pt x="107" y="537"/>
                </a:lnTo>
                <a:lnTo>
                  <a:pt x="344" y="537"/>
                </a:lnTo>
                <a:cubicBezTo>
                  <a:pt x="369" y="573"/>
                  <a:pt x="399" y="566"/>
                  <a:pt x="429" y="566"/>
                </a:cubicBezTo>
                <a:cubicBezTo>
                  <a:pt x="460" y="566"/>
                  <a:pt x="490" y="573"/>
                  <a:pt x="515" y="537"/>
                </a:cubicBezTo>
                <a:lnTo>
                  <a:pt x="752" y="537"/>
                </a:lnTo>
                <a:close/>
                <a:moveTo>
                  <a:pt x="71" y="573"/>
                </a:moveTo>
                <a:lnTo>
                  <a:pt x="71" y="107"/>
                </a:lnTo>
                <a:lnTo>
                  <a:pt x="0" y="107"/>
                </a:lnTo>
                <a:lnTo>
                  <a:pt x="0" y="644"/>
                </a:lnTo>
                <a:lnTo>
                  <a:pt x="394" y="644"/>
                </a:lnTo>
                <a:lnTo>
                  <a:pt x="322" y="573"/>
                </a:lnTo>
                <a:lnTo>
                  <a:pt x="71" y="5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0"/>
          <p:cNvSpPr>
            <a:spLocks noEditPoints="1"/>
          </p:cNvSpPr>
          <p:nvPr/>
        </p:nvSpPr>
        <p:spPr bwMode="auto">
          <a:xfrm>
            <a:off x="11601728" y="1744503"/>
            <a:ext cx="360248" cy="301287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8" name="Freeform 41"/>
          <p:cNvSpPr>
            <a:spLocks/>
          </p:cNvSpPr>
          <p:nvPr/>
        </p:nvSpPr>
        <p:spPr bwMode="auto">
          <a:xfrm>
            <a:off x="11600809" y="4756459"/>
            <a:ext cx="362085" cy="315984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69" name="Группа 68"/>
          <p:cNvGrpSpPr/>
          <p:nvPr/>
        </p:nvGrpSpPr>
        <p:grpSpPr>
          <a:xfrm>
            <a:off x="11614594" y="200960"/>
            <a:ext cx="334516" cy="361915"/>
            <a:chOff x="477468" y="2705515"/>
            <a:chExt cx="409903" cy="443477"/>
          </a:xfrm>
        </p:grpSpPr>
        <p:sp>
          <p:nvSpPr>
            <p:cNvPr id="70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1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72" name="Freeform 44"/>
          <p:cNvSpPr>
            <a:spLocks noEditPoints="1"/>
          </p:cNvSpPr>
          <p:nvPr/>
        </p:nvSpPr>
        <p:spPr bwMode="auto">
          <a:xfrm>
            <a:off x="11606322" y="5464056"/>
            <a:ext cx="351059" cy="380284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3" name="Freeform 45"/>
          <p:cNvSpPr>
            <a:spLocks noEditPoints="1"/>
          </p:cNvSpPr>
          <p:nvPr/>
        </p:nvSpPr>
        <p:spPr bwMode="auto">
          <a:xfrm>
            <a:off x="11601728" y="966788"/>
            <a:ext cx="360248" cy="347216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89" name="Freeform 46"/>
          <p:cNvSpPr>
            <a:spLocks noEditPoints="1"/>
          </p:cNvSpPr>
          <p:nvPr/>
        </p:nvSpPr>
        <p:spPr bwMode="auto">
          <a:xfrm>
            <a:off x="11655949" y="3977824"/>
            <a:ext cx="251807" cy="363751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5" name="Freeform 52"/>
          <p:cNvSpPr>
            <a:spLocks noEditPoints="1"/>
          </p:cNvSpPr>
          <p:nvPr/>
        </p:nvSpPr>
        <p:spPr bwMode="auto">
          <a:xfrm>
            <a:off x="11605404" y="3223075"/>
            <a:ext cx="352896" cy="36375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Freeform 53"/>
          <p:cNvSpPr>
            <a:spLocks noEditPoints="1"/>
          </p:cNvSpPr>
          <p:nvPr/>
        </p:nvSpPr>
        <p:spPr bwMode="auto">
          <a:xfrm>
            <a:off x="11594376" y="6260448"/>
            <a:ext cx="374952" cy="327005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115" name="AutoShape 4"/>
          <p:cNvSpPr>
            <a:spLocks noChangeAspect="1" noChangeArrowheads="1" noTextEdit="1"/>
          </p:cNvSpPr>
          <p:nvPr/>
        </p:nvSpPr>
        <p:spPr bwMode="auto">
          <a:xfrm>
            <a:off x="5844301" y="1808388"/>
            <a:ext cx="918665" cy="317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79" name="Группа 78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80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3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4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5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6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7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8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0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1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2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3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4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2370019" y="200960"/>
            <a:ext cx="869955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002060"/>
                </a:solidFill>
              </a:rPr>
              <a:t>АТЛАСЫ И КОНТУРНЫЕ КАРТЫ. «Сферы. География»</a:t>
            </a:r>
          </a:p>
        </p:txBody>
      </p: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644963" y="1714970"/>
            <a:ext cx="5954421" cy="301621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dirty="0"/>
              <a:t>Атласы разработаны на основе новых подходов к содержанию географического образования и методике преподавания географии в школе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dirty="0"/>
              <a:t>Каждый тематический разворот атласа содержит комплекс взаимосвязанных информационно-методических материалов, освещающих одну тему и обеспечивающих комплексный подход к подаче информации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dirty="0"/>
              <a:t>Могут быть использованы с любым из действующих учебников географии.</a:t>
            </a:r>
          </a:p>
        </p:txBody>
      </p:sp>
      <p:sp>
        <p:nvSpPr>
          <p:cNvPr id="5" name="AutoShape 7" descr="УМК &quot;География. Россия: природа, население, хозяйство. 8 класс&quot;. Иллюстрированный атлас. 8-9 класс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53" name="Рисунок 52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97" b="1297"/>
          <a:stretch/>
        </p:blipFill>
        <p:spPr>
          <a:xfrm>
            <a:off x="460376" y="834331"/>
            <a:ext cx="1883723" cy="262170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54" name="Picture 2" descr="ÐÐ·Ð¾Ð±ÑÐ°Ð¶ÐµÐ½Ð¸Ðµ ÐÐµÐ¾Ð³ÑÐ°ÑÐ¸Ñ. ÐÑÐ»Ð°Ñ. 10-11 ÐºÐ»Ð°ÑÑÑ. ÐÐ°Ð·Ð¾Ð²ÑÐ¹ ÑÑÐ¾Ð²ÐµÐ½Ñ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194" y="3666348"/>
            <a:ext cx="1909273" cy="252516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2" name="Прямая соединительная линия 61"/>
          <p:cNvCxnSpPr/>
          <p:nvPr/>
        </p:nvCxnSpPr>
        <p:spPr>
          <a:xfrm>
            <a:off x="1641272" y="639222"/>
            <a:ext cx="9706667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9825369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07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xmlns="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11375669" y="2257824"/>
            <a:ext cx="812363" cy="754751"/>
          </a:xfrm>
          <a:prstGeom prst="rect">
            <a:avLst/>
          </a:prstGeom>
          <a:solidFill>
            <a:srgbClr val="40D4E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3"/>
          <p:cNvSpPr>
            <a:spLocks noChangeArrowheads="1"/>
          </p:cNvSpPr>
          <p:nvPr/>
        </p:nvSpPr>
        <p:spPr bwMode="auto">
          <a:xfrm>
            <a:off x="11375669" y="5276823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4"/>
          <p:cNvSpPr>
            <a:spLocks noChangeArrowheads="1"/>
          </p:cNvSpPr>
          <p:nvPr/>
        </p:nvSpPr>
        <p:spPr bwMode="auto">
          <a:xfrm>
            <a:off x="11376586" y="4522072"/>
            <a:ext cx="812363" cy="754751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17"/>
          <p:cNvSpPr>
            <a:spLocks noChangeArrowheads="1"/>
          </p:cNvSpPr>
          <p:nvPr/>
        </p:nvSpPr>
        <p:spPr bwMode="auto">
          <a:xfrm>
            <a:off x="11375670" y="-4589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19"/>
          <p:cNvSpPr>
            <a:spLocks noChangeArrowheads="1"/>
          </p:cNvSpPr>
          <p:nvPr/>
        </p:nvSpPr>
        <p:spPr bwMode="auto">
          <a:xfrm>
            <a:off x="11376586" y="3012572"/>
            <a:ext cx="812363" cy="754751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1"/>
          <p:cNvSpPr>
            <a:spLocks noChangeArrowheads="1"/>
          </p:cNvSpPr>
          <p:nvPr/>
        </p:nvSpPr>
        <p:spPr bwMode="auto">
          <a:xfrm>
            <a:off x="11376586" y="6031572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2"/>
          <p:cNvSpPr>
            <a:spLocks noChangeArrowheads="1"/>
          </p:cNvSpPr>
          <p:nvPr/>
        </p:nvSpPr>
        <p:spPr bwMode="auto">
          <a:xfrm>
            <a:off x="11375670" y="1502768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2" name="Rectangle 25"/>
          <p:cNvSpPr>
            <a:spLocks noChangeArrowheads="1"/>
          </p:cNvSpPr>
          <p:nvPr/>
        </p:nvSpPr>
        <p:spPr bwMode="auto">
          <a:xfrm>
            <a:off x="11376586" y="3767322"/>
            <a:ext cx="812363" cy="754751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29"/>
          <p:cNvSpPr>
            <a:spLocks noChangeArrowheads="1"/>
          </p:cNvSpPr>
          <p:nvPr/>
        </p:nvSpPr>
        <p:spPr bwMode="auto">
          <a:xfrm>
            <a:off x="11375670" y="748019"/>
            <a:ext cx="812363" cy="754751"/>
          </a:xfrm>
          <a:prstGeom prst="rect">
            <a:avLst/>
          </a:prstGeom>
          <a:solidFill>
            <a:srgbClr val="9ED44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2"/>
          <p:cNvSpPr>
            <a:spLocks noEditPoints="1"/>
          </p:cNvSpPr>
          <p:nvPr/>
        </p:nvSpPr>
        <p:spPr bwMode="auto">
          <a:xfrm>
            <a:off x="11600809" y="2514255"/>
            <a:ext cx="362085" cy="271895"/>
          </a:xfrm>
          <a:custGeom>
            <a:avLst/>
            <a:gdLst>
              <a:gd name="T0" fmla="*/ 787 w 859"/>
              <a:gd name="T1" fmla="*/ 107 h 644"/>
              <a:gd name="T2" fmla="*/ 787 w 859"/>
              <a:gd name="T3" fmla="*/ 573 h 644"/>
              <a:gd name="T4" fmla="*/ 537 w 859"/>
              <a:gd name="T5" fmla="*/ 573 h 644"/>
              <a:gd name="T6" fmla="*/ 465 w 859"/>
              <a:gd name="T7" fmla="*/ 644 h 644"/>
              <a:gd name="T8" fmla="*/ 859 w 859"/>
              <a:gd name="T9" fmla="*/ 644 h 644"/>
              <a:gd name="T10" fmla="*/ 859 w 859"/>
              <a:gd name="T11" fmla="*/ 107 h 644"/>
              <a:gd name="T12" fmla="*/ 787 w 859"/>
              <a:gd name="T13" fmla="*/ 107 h 644"/>
              <a:gd name="T14" fmla="*/ 476 w 859"/>
              <a:gd name="T15" fmla="*/ 476 h 644"/>
              <a:gd name="T16" fmla="*/ 383 w 859"/>
              <a:gd name="T17" fmla="*/ 476 h 644"/>
              <a:gd name="T18" fmla="*/ 373 w 859"/>
              <a:gd name="T19" fmla="*/ 465 h 644"/>
              <a:gd name="T20" fmla="*/ 179 w 859"/>
              <a:gd name="T21" fmla="*/ 465 h 644"/>
              <a:gd name="T22" fmla="*/ 179 w 859"/>
              <a:gd name="T23" fmla="*/ 71 h 644"/>
              <a:gd name="T24" fmla="*/ 344 w 859"/>
              <a:gd name="T25" fmla="*/ 71 h 644"/>
              <a:gd name="T26" fmla="*/ 393 w 859"/>
              <a:gd name="T27" fmla="*/ 96 h 644"/>
              <a:gd name="T28" fmla="*/ 393 w 859"/>
              <a:gd name="T29" fmla="*/ 358 h 644"/>
              <a:gd name="T30" fmla="*/ 465 w 859"/>
              <a:gd name="T31" fmla="*/ 358 h 644"/>
              <a:gd name="T32" fmla="*/ 465 w 859"/>
              <a:gd name="T33" fmla="*/ 96 h 644"/>
              <a:gd name="T34" fmla="*/ 515 w 859"/>
              <a:gd name="T35" fmla="*/ 71 h 644"/>
              <a:gd name="T36" fmla="*/ 680 w 859"/>
              <a:gd name="T37" fmla="*/ 71 h 644"/>
              <a:gd name="T38" fmla="*/ 680 w 859"/>
              <a:gd name="T39" fmla="*/ 465 h 644"/>
              <a:gd name="T40" fmla="*/ 486 w 859"/>
              <a:gd name="T41" fmla="*/ 465 h 644"/>
              <a:gd name="T42" fmla="*/ 476 w 859"/>
              <a:gd name="T43" fmla="*/ 476 h 644"/>
              <a:gd name="T44" fmla="*/ 752 w 859"/>
              <a:gd name="T45" fmla="*/ 537 h 644"/>
              <a:gd name="T46" fmla="*/ 752 w 859"/>
              <a:gd name="T47" fmla="*/ 0 h 644"/>
              <a:gd name="T48" fmla="*/ 486 w 859"/>
              <a:gd name="T49" fmla="*/ 0 h 644"/>
              <a:gd name="T50" fmla="*/ 476 w 859"/>
              <a:gd name="T51" fmla="*/ 10 h 644"/>
              <a:gd name="T52" fmla="*/ 383 w 859"/>
              <a:gd name="T53" fmla="*/ 10 h 644"/>
              <a:gd name="T54" fmla="*/ 373 w 859"/>
              <a:gd name="T55" fmla="*/ 0 h 644"/>
              <a:gd name="T56" fmla="*/ 107 w 859"/>
              <a:gd name="T57" fmla="*/ 0 h 644"/>
              <a:gd name="T58" fmla="*/ 107 w 859"/>
              <a:gd name="T59" fmla="*/ 537 h 644"/>
              <a:gd name="T60" fmla="*/ 344 w 859"/>
              <a:gd name="T61" fmla="*/ 537 h 644"/>
              <a:gd name="T62" fmla="*/ 429 w 859"/>
              <a:gd name="T63" fmla="*/ 566 h 644"/>
              <a:gd name="T64" fmla="*/ 515 w 859"/>
              <a:gd name="T65" fmla="*/ 537 h 644"/>
              <a:gd name="T66" fmla="*/ 752 w 859"/>
              <a:gd name="T67" fmla="*/ 537 h 644"/>
              <a:gd name="T68" fmla="*/ 71 w 859"/>
              <a:gd name="T69" fmla="*/ 573 h 644"/>
              <a:gd name="T70" fmla="*/ 71 w 859"/>
              <a:gd name="T71" fmla="*/ 107 h 644"/>
              <a:gd name="T72" fmla="*/ 0 w 859"/>
              <a:gd name="T73" fmla="*/ 107 h 644"/>
              <a:gd name="T74" fmla="*/ 0 w 859"/>
              <a:gd name="T75" fmla="*/ 644 h 644"/>
              <a:gd name="T76" fmla="*/ 394 w 859"/>
              <a:gd name="T77" fmla="*/ 644 h 644"/>
              <a:gd name="T78" fmla="*/ 322 w 859"/>
              <a:gd name="T79" fmla="*/ 573 h 644"/>
              <a:gd name="T80" fmla="*/ 71 w 859"/>
              <a:gd name="T81" fmla="*/ 573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9" h="644">
                <a:moveTo>
                  <a:pt x="787" y="107"/>
                </a:moveTo>
                <a:lnTo>
                  <a:pt x="787" y="573"/>
                </a:lnTo>
                <a:lnTo>
                  <a:pt x="537" y="573"/>
                </a:lnTo>
                <a:lnTo>
                  <a:pt x="465" y="644"/>
                </a:lnTo>
                <a:lnTo>
                  <a:pt x="859" y="644"/>
                </a:lnTo>
                <a:lnTo>
                  <a:pt x="859" y="107"/>
                </a:lnTo>
                <a:lnTo>
                  <a:pt x="787" y="107"/>
                </a:lnTo>
                <a:close/>
                <a:moveTo>
                  <a:pt x="476" y="476"/>
                </a:moveTo>
                <a:cubicBezTo>
                  <a:pt x="450" y="501"/>
                  <a:pt x="409" y="501"/>
                  <a:pt x="383" y="476"/>
                </a:cubicBezTo>
                <a:lnTo>
                  <a:pt x="373" y="465"/>
                </a:lnTo>
                <a:lnTo>
                  <a:pt x="179" y="465"/>
                </a:lnTo>
                <a:lnTo>
                  <a:pt x="179" y="71"/>
                </a:lnTo>
                <a:lnTo>
                  <a:pt x="344" y="71"/>
                </a:lnTo>
                <a:cubicBezTo>
                  <a:pt x="359" y="71"/>
                  <a:pt x="393" y="91"/>
                  <a:pt x="393" y="96"/>
                </a:cubicBezTo>
                <a:lnTo>
                  <a:pt x="393" y="358"/>
                </a:lnTo>
                <a:lnTo>
                  <a:pt x="465" y="358"/>
                </a:lnTo>
                <a:lnTo>
                  <a:pt x="465" y="96"/>
                </a:lnTo>
                <a:cubicBezTo>
                  <a:pt x="465" y="91"/>
                  <a:pt x="500" y="71"/>
                  <a:pt x="515" y="71"/>
                </a:cubicBezTo>
                <a:lnTo>
                  <a:pt x="680" y="71"/>
                </a:lnTo>
                <a:lnTo>
                  <a:pt x="680" y="465"/>
                </a:lnTo>
                <a:lnTo>
                  <a:pt x="486" y="465"/>
                </a:lnTo>
                <a:lnTo>
                  <a:pt x="476" y="476"/>
                </a:lnTo>
                <a:close/>
                <a:moveTo>
                  <a:pt x="752" y="537"/>
                </a:moveTo>
                <a:lnTo>
                  <a:pt x="752" y="0"/>
                </a:lnTo>
                <a:lnTo>
                  <a:pt x="486" y="0"/>
                </a:lnTo>
                <a:lnTo>
                  <a:pt x="476" y="10"/>
                </a:lnTo>
                <a:cubicBezTo>
                  <a:pt x="450" y="36"/>
                  <a:pt x="409" y="36"/>
                  <a:pt x="383" y="10"/>
                </a:cubicBezTo>
                <a:lnTo>
                  <a:pt x="373" y="0"/>
                </a:lnTo>
                <a:lnTo>
                  <a:pt x="107" y="0"/>
                </a:lnTo>
                <a:lnTo>
                  <a:pt x="107" y="537"/>
                </a:lnTo>
                <a:lnTo>
                  <a:pt x="344" y="537"/>
                </a:lnTo>
                <a:cubicBezTo>
                  <a:pt x="369" y="573"/>
                  <a:pt x="399" y="566"/>
                  <a:pt x="429" y="566"/>
                </a:cubicBezTo>
                <a:cubicBezTo>
                  <a:pt x="460" y="566"/>
                  <a:pt x="490" y="573"/>
                  <a:pt x="515" y="537"/>
                </a:cubicBezTo>
                <a:lnTo>
                  <a:pt x="752" y="537"/>
                </a:lnTo>
                <a:close/>
                <a:moveTo>
                  <a:pt x="71" y="573"/>
                </a:moveTo>
                <a:lnTo>
                  <a:pt x="71" y="107"/>
                </a:lnTo>
                <a:lnTo>
                  <a:pt x="0" y="107"/>
                </a:lnTo>
                <a:lnTo>
                  <a:pt x="0" y="644"/>
                </a:lnTo>
                <a:lnTo>
                  <a:pt x="394" y="644"/>
                </a:lnTo>
                <a:lnTo>
                  <a:pt x="322" y="573"/>
                </a:lnTo>
                <a:lnTo>
                  <a:pt x="71" y="5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0"/>
          <p:cNvSpPr>
            <a:spLocks noEditPoints="1"/>
          </p:cNvSpPr>
          <p:nvPr/>
        </p:nvSpPr>
        <p:spPr bwMode="auto">
          <a:xfrm>
            <a:off x="11601728" y="1744503"/>
            <a:ext cx="360248" cy="301287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8" name="Freeform 41"/>
          <p:cNvSpPr>
            <a:spLocks/>
          </p:cNvSpPr>
          <p:nvPr/>
        </p:nvSpPr>
        <p:spPr bwMode="auto">
          <a:xfrm>
            <a:off x="11600809" y="4756459"/>
            <a:ext cx="362085" cy="315984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69" name="Группа 68"/>
          <p:cNvGrpSpPr/>
          <p:nvPr/>
        </p:nvGrpSpPr>
        <p:grpSpPr>
          <a:xfrm>
            <a:off x="11614594" y="200960"/>
            <a:ext cx="334516" cy="361915"/>
            <a:chOff x="477468" y="2705515"/>
            <a:chExt cx="409903" cy="443477"/>
          </a:xfrm>
        </p:grpSpPr>
        <p:sp>
          <p:nvSpPr>
            <p:cNvPr id="70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1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72" name="Freeform 44"/>
          <p:cNvSpPr>
            <a:spLocks noEditPoints="1"/>
          </p:cNvSpPr>
          <p:nvPr/>
        </p:nvSpPr>
        <p:spPr bwMode="auto">
          <a:xfrm>
            <a:off x="11606322" y="5464056"/>
            <a:ext cx="351059" cy="380284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3" name="Freeform 45"/>
          <p:cNvSpPr>
            <a:spLocks noEditPoints="1"/>
          </p:cNvSpPr>
          <p:nvPr/>
        </p:nvSpPr>
        <p:spPr bwMode="auto">
          <a:xfrm>
            <a:off x="11601728" y="966788"/>
            <a:ext cx="360248" cy="347216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89" name="Freeform 46"/>
          <p:cNvSpPr>
            <a:spLocks noEditPoints="1"/>
          </p:cNvSpPr>
          <p:nvPr/>
        </p:nvSpPr>
        <p:spPr bwMode="auto">
          <a:xfrm>
            <a:off x="11655949" y="3977824"/>
            <a:ext cx="251807" cy="363751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5" name="Freeform 52"/>
          <p:cNvSpPr>
            <a:spLocks noEditPoints="1"/>
          </p:cNvSpPr>
          <p:nvPr/>
        </p:nvSpPr>
        <p:spPr bwMode="auto">
          <a:xfrm>
            <a:off x="11605404" y="3223075"/>
            <a:ext cx="352896" cy="36375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Freeform 53"/>
          <p:cNvSpPr>
            <a:spLocks noEditPoints="1"/>
          </p:cNvSpPr>
          <p:nvPr/>
        </p:nvSpPr>
        <p:spPr bwMode="auto">
          <a:xfrm>
            <a:off x="11594376" y="6260448"/>
            <a:ext cx="374952" cy="327005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115" name="AutoShape 4"/>
          <p:cNvSpPr>
            <a:spLocks noChangeAspect="1" noChangeArrowheads="1" noTextEdit="1"/>
          </p:cNvSpPr>
          <p:nvPr/>
        </p:nvSpPr>
        <p:spPr bwMode="auto">
          <a:xfrm>
            <a:off x="5844301" y="1808388"/>
            <a:ext cx="918665" cy="317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7" name="object 27"/>
          <p:cNvSpPr txBox="1"/>
          <p:nvPr/>
        </p:nvSpPr>
        <p:spPr>
          <a:xfrm>
            <a:off x="2258310" y="66358"/>
            <a:ext cx="7940015" cy="96180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spcBef>
                <a:spcPts val="100"/>
              </a:spcBef>
            </a:pPr>
            <a:r>
              <a:rPr lang="ru-RU" sz="2400" b="1" spc="-5" dirty="0">
                <a:solidFill>
                  <a:srgbClr val="002060"/>
                </a:solidFill>
                <a:cs typeface="Carlito"/>
              </a:rPr>
              <a:t>ЛИНИЯ</a:t>
            </a:r>
            <a:r>
              <a:rPr sz="2400" b="1" spc="-5" dirty="0">
                <a:solidFill>
                  <a:srgbClr val="002060"/>
                </a:solidFill>
                <a:cs typeface="Carlito"/>
              </a:rPr>
              <a:t> </a:t>
            </a:r>
            <a:r>
              <a:rPr sz="2400" b="1" dirty="0">
                <a:solidFill>
                  <a:srgbClr val="002060"/>
                </a:solidFill>
                <a:cs typeface="Carlito"/>
              </a:rPr>
              <a:t>УМК </a:t>
            </a:r>
            <a:r>
              <a:rPr sz="2400" b="1" spc="-15" dirty="0">
                <a:solidFill>
                  <a:srgbClr val="002060"/>
                </a:solidFill>
                <a:cs typeface="Carlito"/>
              </a:rPr>
              <a:t>под </a:t>
            </a:r>
            <a:r>
              <a:rPr sz="2400" b="1" spc="-5" dirty="0">
                <a:solidFill>
                  <a:srgbClr val="002060"/>
                </a:solidFill>
                <a:cs typeface="Carlito"/>
              </a:rPr>
              <a:t>ред. Дронова</a:t>
            </a:r>
            <a:r>
              <a:rPr sz="2400" b="1" spc="-15" dirty="0">
                <a:solidFill>
                  <a:srgbClr val="002060"/>
                </a:solidFill>
                <a:cs typeface="Carlito"/>
              </a:rPr>
              <a:t> </a:t>
            </a:r>
            <a:r>
              <a:rPr sz="2400" b="1" spc="-5" dirty="0">
                <a:solidFill>
                  <a:srgbClr val="002060"/>
                </a:solidFill>
                <a:cs typeface="Carlito"/>
              </a:rPr>
              <a:t>В.</a:t>
            </a:r>
            <a:r>
              <a:rPr lang="ru-RU" sz="2400" b="1" dirty="0">
                <a:solidFill>
                  <a:srgbClr val="002060"/>
                </a:solidFill>
              </a:rPr>
              <a:t> </a:t>
            </a:r>
            <a:r>
              <a:rPr lang="ru-RU" sz="2400" b="1" spc="-5" dirty="0">
                <a:solidFill>
                  <a:srgbClr val="002060"/>
                </a:solidFill>
                <a:cs typeface="Carlito"/>
              </a:rPr>
              <a:t>П. </a:t>
            </a:r>
            <a:r>
              <a:rPr lang="ru-RU" sz="2400" b="1" dirty="0">
                <a:solidFill>
                  <a:srgbClr val="002060"/>
                </a:solidFill>
              </a:rPr>
              <a:t>5-9 классы    </a:t>
            </a:r>
          </a:p>
          <a:p>
            <a:pPr marL="12700" algn="ctr">
              <a:spcBef>
                <a:spcPts val="100"/>
              </a:spcBef>
            </a:pPr>
            <a:endParaRPr lang="ru-RU" b="1" dirty="0">
              <a:solidFill>
                <a:srgbClr val="0070C0"/>
              </a:solidFill>
            </a:endParaRPr>
          </a:p>
          <a:p>
            <a:pPr marL="12700" algn="ctr">
              <a:spcBef>
                <a:spcPts val="100"/>
              </a:spcBef>
            </a:pPr>
            <a:r>
              <a:rPr lang="ru-RU" b="1" dirty="0">
                <a:solidFill>
                  <a:srgbClr val="0070C0"/>
                </a:solidFill>
              </a:rPr>
              <a:t>«БИНОМ. Лаборатория знаний» </a:t>
            </a:r>
            <a:endParaRPr b="1" dirty="0">
              <a:solidFill>
                <a:srgbClr val="0070C0"/>
              </a:solidFill>
              <a:cs typeface="Carlito"/>
            </a:endParaRPr>
          </a:p>
        </p:txBody>
      </p:sp>
      <p:pic>
        <p:nvPicPr>
          <p:cNvPr id="50" name="Picture 2" descr="География. 5 класс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196" y="2087508"/>
            <a:ext cx="1892825" cy="2522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10" descr="География. 9 класс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5568" y="2059624"/>
            <a:ext cx="1874818" cy="25388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4830351" y="2078721"/>
            <a:ext cx="6154436" cy="301621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ru-RU" b="1" i="1" dirty="0"/>
              <a:t>   Ключевые преимущества учебников</a:t>
            </a:r>
          </a:p>
          <a:p>
            <a:endParaRPr lang="ru-RU" b="1" i="1" dirty="0"/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dirty="0"/>
              <a:t>преемственность лучших традиций российского географического образования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dirty="0"/>
              <a:t>познание мира во всем его многообразии и связях благодаря рубрикам «География и физика», «География и история», «География и биология», «География и </a:t>
            </a:r>
            <a:r>
              <a:rPr lang="ru-RU" sz="1600" dirty="0"/>
              <a:t>искусство</a:t>
            </a:r>
            <a:r>
              <a:rPr lang="ru-RU" dirty="0"/>
              <a:t>» и др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2177101" y="1104473"/>
            <a:ext cx="783169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>
                <a:solidFill>
                  <a:srgbClr val="002060"/>
                </a:solidFill>
              </a:rPr>
              <a:t>Линия обновленных классических учебников географии </a:t>
            </a:r>
          </a:p>
        </p:txBody>
      </p:sp>
      <p:grpSp>
        <p:nvGrpSpPr>
          <p:cNvPr id="38" name="Группа 37"/>
          <p:cNvGrpSpPr/>
          <p:nvPr/>
        </p:nvGrpSpPr>
        <p:grpSpPr>
          <a:xfrm>
            <a:off x="190405" y="103788"/>
            <a:ext cx="1372760" cy="510328"/>
            <a:chOff x="254665" y="195486"/>
            <a:chExt cx="951720" cy="329081"/>
          </a:xfrm>
        </p:grpSpPr>
        <p:sp>
          <p:nvSpPr>
            <p:cNvPr id="39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77" name="Подзаголовок 3"/>
          <p:cNvSpPr txBox="1">
            <a:spLocks/>
          </p:cNvSpPr>
          <p:nvPr/>
        </p:nvSpPr>
        <p:spPr>
          <a:xfrm>
            <a:off x="527346" y="5136372"/>
            <a:ext cx="2132381" cy="1451081"/>
          </a:xfrm>
          <a:prstGeom prst="rect">
            <a:avLst/>
          </a:prstGeom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b="1" dirty="0">
                <a:latin typeface="Calibri" panose="020F0502020204030204" pitchFamily="34" charset="0"/>
                <a:cs typeface="Calibri" panose="020F0502020204030204" pitchFamily="34" charset="0"/>
              </a:rPr>
              <a:t>Состав УМК:</a:t>
            </a:r>
          </a:p>
          <a:p>
            <a:pPr marL="171450" lvl="0" indent="-1714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методические пособия            </a:t>
            </a:r>
          </a:p>
          <a:p>
            <a:pPr marL="180975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рабочая программа</a:t>
            </a:r>
          </a:p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ЭФУ</a:t>
            </a:r>
          </a:p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9" name="object 29"/>
          <p:cNvSpPr txBox="1"/>
          <p:nvPr/>
        </p:nvSpPr>
        <p:spPr>
          <a:xfrm>
            <a:off x="1055333" y="4879456"/>
            <a:ext cx="2516373" cy="185948"/>
          </a:xfrm>
          <a:prstGeom prst="rect">
            <a:avLst/>
          </a:prstGeom>
          <a:solidFill>
            <a:srgbClr val="2C3493"/>
          </a:solidFill>
        </p:spPr>
        <p:txBody>
          <a:bodyPr vert="horz" wrap="square" lIns="0" tIns="1270" rIns="0" bIns="0" rtlCol="0">
            <a:spAutoFit/>
          </a:bodyPr>
          <a:lstStyle/>
          <a:p>
            <a:pPr marL="255904">
              <a:spcBef>
                <a:spcPts val="5"/>
              </a:spcBef>
            </a:pPr>
            <a:r>
              <a:rPr sz="1200" b="1" spc="-5" dirty="0">
                <a:solidFill>
                  <a:srgbClr val="FFFFFF"/>
                </a:solidFill>
                <a:latin typeface="Carlito"/>
                <a:cs typeface="Carlito"/>
              </a:rPr>
              <a:t>ФП</a:t>
            </a:r>
            <a:r>
              <a:rPr sz="1200" b="1" spc="-15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1200" b="1" spc="-10" dirty="0">
                <a:solidFill>
                  <a:srgbClr val="FFFFFF"/>
                </a:solidFill>
                <a:latin typeface="Carlito"/>
                <a:cs typeface="Carlito"/>
              </a:rPr>
              <a:t>№</a:t>
            </a:r>
            <a:r>
              <a:rPr lang="ru-RU" sz="1200" b="1" spc="-10" dirty="0">
                <a:solidFill>
                  <a:srgbClr val="FFFFFF"/>
                </a:solidFill>
                <a:latin typeface="Carlito"/>
                <a:cs typeface="Carlito"/>
              </a:rPr>
              <a:t> 1.1.2.3.4.7.1-1.1.2.3.4.7.5</a:t>
            </a:r>
          </a:p>
        </p:txBody>
      </p:sp>
      <p:cxnSp>
        <p:nvCxnSpPr>
          <p:cNvPr id="84" name="Прямая соединительная линия 83"/>
          <p:cNvCxnSpPr/>
          <p:nvPr/>
        </p:nvCxnSpPr>
        <p:spPr>
          <a:xfrm>
            <a:off x="1641272" y="639222"/>
            <a:ext cx="9706667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457669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26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xmlns="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11375669" y="2257824"/>
            <a:ext cx="812363" cy="754751"/>
          </a:xfrm>
          <a:prstGeom prst="rect">
            <a:avLst/>
          </a:prstGeom>
          <a:solidFill>
            <a:srgbClr val="40D4E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3"/>
          <p:cNvSpPr>
            <a:spLocks noChangeArrowheads="1"/>
          </p:cNvSpPr>
          <p:nvPr/>
        </p:nvSpPr>
        <p:spPr bwMode="auto">
          <a:xfrm>
            <a:off x="11375669" y="5276823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4"/>
          <p:cNvSpPr>
            <a:spLocks noChangeArrowheads="1"/>
          </p:cNvSpPr>
          <p:nvPr/>
        </p:nvSpPr>
        <p:spPr bwMode="auto">
          <a:xfrm>
            <a:off x="11376586" y="4522072"/>
            <a:ext cx="812363" cy="754751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17"/>
          <p:cNvSpPr>
            <a:spLocks noChangeArrowheads="1"/>
          </p:cNvSpPr>
          <p:nvPr/>
        </p:nvSpPr>
        <p:spPr bwMode="auto">
          <a:xfrm>
            <a:off x="11375670" y="-4589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19"/>
          <p:cNvSpPr>
            <a:spLocks noChangeArrowheads="1"/>
          </p:cNvSpPr>
          <p:nvPr/>
        </p:nvSpPr>
        <p:spPr bwMode="auto">
          <a:xfrm>
            <a:off x="11376586" y="3012572"/>
            <a:ext cx="812363" cy="754751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1"/>
          <p:cNvSpPr>
            <a:spLocks noChangeArrowheads="1"/>
          </p:cNvSpPr>
          <p:nvPr/>
        </p:nvSpPr>
        <p:spPr bwMode="auto">
          <a:xfrm>
            <a:off x="11376586" y="6031572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2"/>
          <p:cNvSpPr>
            <a:spLocks noChangeArrowheads="1"/>
          </p:cNvSpPr>
          <p:nvPr/>
        </p:nvSpPr>
        <p:spPr bwMode="auto">
          <a:xfrm>
            <a:off x="11375670" y="1502768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2" name="Rectangle 25"/>
          <p:cNvSpPr>
            <a:spLocks noChangeArrowheads="1"/>
          </p:cNvSpPr>
          <p:nvPr/>
        </p:nvSpPr>
        <p:spPr bwMode="auto">
          <a:xfrm>
            <a:off x="11376586" y="3767322"/>
            <a:ext cx="812363" cy="754751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29"/>
          <p:cNvSpPr>
            <a:spLocks noChangeArrowheads="1"/>
          </p:cNvSpPr>
          <p:nvPr/>
        </p:nvSpPr>
        <p:spPr bwMode="auto">
          <a:xfrm>
            <a:off x="11375670" y="748019"/>
            <a:ext cx="812363" cy="754751"/>
          </a:xfrm>
          <a:prstGeom prst="rect">
            <a:avLst/>
          </a:prstGeom>
          <a:solidFill>
            <a:srgbClr val="9ED44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2"/>
          <p:cNvSpPr>
            <a:spLocks noEditPoints="1"/>
          </p:cNvSpPr>
          <p:nvPr/>
        </p:nvSpPr>
        <p:spPr bwMode="auto">
          <a:xfrm>
            <a:off x="11600809" y="2514255"/>
            <a:ext cx="362085" cy="271895"/>
          </a:xfrm>
          <a:custGeom>
            <a:avLst/>
            <a:gdLst>
              <a:gd name="T0" fmla="*/ 787 w 859"/>
              <a:gd name="T1" fmla="*/ 107 h 644"/>
              <a:gd name="T2" fmla="*/ 787 w 859"/>
              <a:gd name="T3" fmla="*/ 573 h 644"/>
              <a:gd name="T4" fmla="*/ 537 w 859"/>
              <a:gd name="T5" fmla="*/ 573 h 644"/>
              <a:gd name="T6" fmla="*/ 465 w 859"/>
              <a:gd name="T7" fmla="*/ 644 h 644"/>
              <a:gd name="T8" fmla="*/ 859 w 859"/>
              <a:gd name="T9" fmla="*/ 644 h 644"/>
              <a:gd name="T10" fmla="*/ 859 w 859"/>
              <a:gd name="T11" fmla="*/ 107 h 644"/>
              <a:gd name="T12" fmla="*/ 787 w 859"/>
              <a:gd name="T13" fmla="*/ 107 h 644"/>
              <a:gd name="T14" fmla="*/ 476 w 859"/>
              <a:gd name="T15" fmla="*/ 476 h 644"/>
              <a:gd name="T16" fmla="*/ 383 w 859"/>
              <a:gd name="T17" fmla="*/ 476 h 644"/>
              <a:gd name="T18" fmla="*/ 373 w 859"/>
              <a:gd name="T19" fmla="*/ 465 h 644"/>
              <a:gd name="T20" fmla="*/ 179 w 859"/>
              <a:gd name="T21" fmla="*/ 465 h 644"/>
              <a:gd name="T22" fmla="*/ 179 w 859"/>
              <a:gd name="T23" fmla="*/ 71 h 644"/>
              <a:gd name="T24" fmla="*/ 344 w 859"/>
              <a:gd name="T25" fmla="*/ 71 h 644"/>
              <a:gd name="T26" fmla="*/ 393 w 859"/>
              <a:gd name="T27" fmla="*/ 96 h 644"/>
              <a:gd name="T28" fmla="*/ 393 w 859"/>
              <a:gd name="T29" fmla="*/ 358 h 644"/>
              <a:gd name="T30" fmla="*/ 465 w 859"/>
              <a:gd name="T31" fmla="*/ 358 h 644"/>
              <a:gd name="T32" fmla="*/ 465 w 859"/>
              <a:gd name="T33" fmla="*/ 96 h 644"/>
              <a:gd name="T34" fmla="*/ 515 w 859"/>
              <a:gd name="T35" fmla="*/ 71 h 644"/>
              <a:gd name="T36" fmla="*/ 680 w 859"/>
              <a:gd name="T37" fmla="*/ 71 h 644"/>
              <a:gd name="T38" fmla="*/ 680 w 859"/>
              <a:gd name="T39" fmla="*/ 465 h 644"/>
              <a:gd name="T40" fmla="*/ 486 w 859"/>
              <a:gd name="T41" fmla="*/ 465 h 644"/>
              <a:gd name="T42" fmla="*/ 476 w 859"/>
              <a:gd name="T43" fmla="*/ 476 h 644"/>
              <a:gd name="T44" fmla="*/ 752 w 859"/>
              <a:gd name="T45" fmla="*/ 537 h 644"/>
              <a:gd name="T46" fmla="*/ 752 w 859"/>
              <a:gd name="T47" fmla="*/ 0 h 644"/>
              <a:gd name="T48" fmla="*/ 486 w 859"/>
              <a:gd name="T49" fmla="*/ 0 h 644"/>
              <a:gd name="T50" fmla="*/ 476 w 859"/>
              <a:gd name="T51" fmla="*/ 10 h 644"/>
              <a:gd name="T52" fmla="*/ 383 w 859"/>
              <a:gd name="T53" fmla="*/ 10 h 644"/>
              <a:gd name="T54" fmla="*/ 373 w 859"/>
              <a:gd name="T55" fmla="*/ 0 h 644"/>
              <a:gd name="T56" fmla="*/ 107 w 859"/>
              <a:gd name="T57" fmla="*/ 0 h 644"/>
              <a:gd name="T58" fmla="*/ 107 w 859"/>
              <a:gd name="T59" fmla="*/ 537 h 644"/>
              <a:gd name="T60" fmla="*/ 344 w 859"/>
              <a:gd name="T61" fmla="*/ 537 h 644"/>
              <a:gd name="T62" fmla="*/ 429 w 859"/>
              <a:gd name="T63" fmla="*/ 566 h 644"/>
              <a:gd name="T64" fmla="*/ 515 w 859"/>
              <a:gd name="T65" fmla="*/ 537 h 644"/>
              <a:gd name="T66" fmla="*/ 752 w 859"/>
              <a:gd name="T67" fmla="*/ 537 h 644"/>
              <a:gd name="T68" fmla="*/ 71 w 859"/>
              <a:gd name="T69" fmla="*/ 573 h 644"/>
              <a:gd name="T70" fmla="*/ 71 w 859"/>
              <a:gd name="T71" fmla="*/ 107 h 644"/>
              <a:gd name="T72" fmla="*/ 0 w 859"/>
              <a:gd name="T73" fmla="*/ 107 h 644"/>
              <a:gd name="T74" fmla="*/ 0 w 859"/>
              <a:gd name="T75" fmla="*/ 644 h 644"/>
              <a:gd name="T76" fmla="*/ 394 w 859"/>
              <a:gd name="T77" fmla="*/ 644 h 644"/>
              <a:gd name="T78" fmla="*/ 322 w 859"/>
              <a:gd name="T79" fmla="*/ 573 h 644"/>
              <a:gd name="T80" fmla="*/ 71 w 859"/>
              <a:gd name="T81" fmla="*/ 573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9" h="644">
                <a:moveTo>
                  <a:pt x="787" y="107"/>
                </a:moveTo>
                <a:lnTo>
                  <a:pt x="787" y="573"/>
                </a:lnTo>
                <a:lnTo>
                  <a:pt x="537" y="573"/>
                </a:lnTo>
                <a:lnTo>
                  <a:pt x="465" y="644"/>
                </a:lnTo>
                <a:lnTo>
                  <a:pt x="859" y="644"/>
                </a:lnTo>
                <a:lnTo>
                  <a:pt x="859" y="107"/>
                </a:lnTo>
                <a:lnTo>
                  <a:pt x="787" y="107"/>
                </a:lnTo>
                <a:close/>
                <a:moveTo>
                  <a:pt x="476" y="476"/>
                </a:moveTo>
                <a:cubicBezTo>
                  <a:pt x="450" y="501"/>
                  <a:pt x="409" y="501"/>
                  <a:pt x="383" y="476"/>
                </a:cubicBezTo>
                <a:lnTo>
                  <a:pt x="373" y="465"/>
                </a:lnTo>
                <a:lnTo>
                  <a:pt x="179" y="465"/>
                </a:lnTo>
                <a:lnTo>
                  <a:pt x="179" y="71"/>
                </a:lnTo>
                <a:lnTo>
                  <a:pt x="344" y="71"/>
                </a:lnTo>
                <a:cubicBezTo>
                  <a:pt x="359" y="71"/>
                  <a:pt x="393" y="91"/>
                  <a:pt x="393" y="96"/>
                </a:cubicBezTo>
                <a:lnTo>
                  <a:pt x="393" y="358"/>
                </a:lnTo>
                <a:lnTo>
                  <a:pt x="465" y="358"/>
                </a:lnTo>
                <a:lnTo>
                  <a:pt x="465" y="96"/>
                </a:lnTo>
                <a:cubicBezTo>
                  <a:pt x="465" y="91"/>
                  <a:pt x="500" y="71"/>
                  <a:pt x="515" y="71"/>
                </a:cubicBezTo>
                <a:lnTo>
                  <a:pt x="680" y="71"/>
                </a:lnTo>
                <a:lnTo>
                  <a:pt x="680" y="465"/>
                </a:lnTo>
                <a:lnTo>
                  <a:pt x="486" y="465"/>
                </a:lnTo>
                <a:lnTo>
                  <a:pt x="476" y="476"/>
                </a:lnTo>
                <a:close/>
                <a:moveTo>
                  <a:pt x="752" y="537"/>
                </a:moveTo>
                <a:lnTo>
                  <a:pt x="752" y="0"/>
                </a:lnTo>
                <a:lnTo>
                  <a:pt x="486" y="0"/>
                </a:lnTo>
                <a:lnTo>
                  <a:pt x="476" y="10"/>
                </a:lnTo>
                <a:cubicBezTo>
                  <a:pt x="450" y="36"/>
                  <a:pt x="409" y="36"/>
                  <a:pt x="383" y="10"/>
                </a:cubicBezTo>
                <a:lnTo>
                  <a:pt x="373" y="0"/>
                </a:lnTo>
                <a:lnTo>
                  <a:pt x="107" y="0"/>
                </a:lnTo>
                <a:lnTo>
                  <a:pt x="107" y="537"/>
                </a:lnTo>
                <a:lnTo>
                  <a:pt x="344" y="537"/>
                </a:lnTo>
                <a:cubicBezTo>
                  <a:pt x="369" y="573"/>
                  <a:pt x="399" y="566"/>
                  <a:pt x="429" y="566"/>
                </a:cubicBezTo>
                <a:cubicBezTo>
                  <a:pt x="460" y="566"/>
                  <a:pt x="490" y="573"/>
                  <a:pt x="515" y="537"/>
                </a:cubicBezTo>
                <a:lnTo>
                  <a:pt x="752" y="537"/>
                </a:lnTo>
                <a:close/>
                <a:moveTo>
                  <a:pt x="71" y="573"/>
                </a:moveTo>
                <a:lnTo>
                  <a:pt x="71" y="107"/>
                </a:lnTo>
                <a:lnTo>
                  <a:pt x="0" y="107"/>
                </a:lnTo>
                <a:lnTo>
                  <a:pt x="0" y="644"/>
                </a:lnTo>
                <a:lnTo>
                  <a:pt x="394" y="644"/>
                </a:lnTo>
                <a:lnTo>
                  <a:pt x="322" y="573"/>
                </a:lnTo>
                <a:lnTo>
                  <a:pt x="71" y="5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0"/>
          <p:cNvSpPr>
            <a:spLocks noEditPoints="1"/>
          </p:cNvSpPr>
          <p:nvPr/>
        </p:nvSpPr>
        <p:spPr bwMode="auto">
          <a:xfrm>
            <a:off x="11601728" y="1744503"/>
            <a:ext cx="360248" cy="301287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8" name="Freeform 41"/>
          <p:cNvSpPr>
            <a:spLocks/>
          </p:cNvSpPr>
          <p:nvPr/>
        </p:nvSpPr>
        <p:spPr bwMode="auto">
          <a:xfrm>
            <a:off x="11600809" y="4756459"/>
            <a:ext cx="362085" cy="315984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69" name="Группа 68"/>
          <p:cNvGrpSpPr/>
          <p:nvPr/>
        </p:nvGrpSpPr>
        <p:grpSpPr>
          <a:xfrm>
            <a:off x="11614594" y="200960"/>
            <a:ext cx="334516" cy="361915"/>
            <a:chOff x="477468" y="2705515"/>
            <a:chExt cx="409903" cy="443477"/>
          </a:xfrm>
        </p:grpSpPr>
        <p:sp>
          <p:nvSpPr>
            <p:cNvPr id="70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1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72" name="Freeform 44"/>
          <p:cNvSpPr>
            <a:spLocks noEditPoints="1"/>
          </p:cNvSpPr>
          <p:nvPr/>
        </p:nvSpPr>
        <p:spPr bwMode="auto">
          <a:xfrm>
            <a:off x="11606322" y="5464056"/>
            <a:ext cx="351059" cy="380284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3" name="Freeform 45"/>
          <p:cNvSpPr>
            <a:spLocks noEditPoints="1"/>
          </p:cNvSpPr>
          <p:nvPr/>
        </p:nvSpPr>
        <p:spPr bwMode="auto">
          <a:xfrm>
            <a:off x="11601728" y="966788"/>
            <a:ext cx="360248" cy="347216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89" name="Freeform 46"/>
          <p:cNvSpPr>
            <a:spLocks noEditPoints="1"/>
          </p:cNvSpPr>
          <p:nvPr/>
        </p:nvSpPr>
        <p:spPr bwMode="auto">
          <a:xfrm>
            <a:off x="11655949" y="3977824"/>
            <a:ext cx="251807" cy="363751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5" name="Freeform 52"/>
          <p:cNvSpPr>
            <a:spLocks noEditPoints="1"/>
          </p:cNvSpPr>
          <p:nvPr/>
        </p:nvSpPr>
        <p:spPr bwMode="auto">
          <a:xfrm>
            <a:off x="11605404" y="3223075"/>
            <a:ext cx="352896" cy="36375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Freeform 53"/>
          <p:cNvSpPr>
            <a:spLocks noEditPoints="1"/>
          </p:cNvSpPr>
          <p:nvPr/>
        </p:nvSpPr>
        <p:spPr bwMode="auto">
          <a:xfrm>
            <a:off x="11594376" y="6260448"/>
            <a:ext cx="374952" cy="327005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115" name="AutoShape 4"/>
          <p:cNvSpPr>
            <a:spLocks noChangeAspect="1" noChangeArrowheads="1" noTextEdit="1"/>
          </p:cNvSpPr>
          <p:nvPr/>
        </p:nvSpPr>
        <p:spPr bwMode="auto">
          <a:xfrm>
            <a:off x="5844301" y="1808388"/>
            <a:ext cx="918665" cy="317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79" name="Группа 78"/>
          <p:cNvGrpSpPr/>
          <p:nvPr/>
        </p:nvGrpSpPr>
        <p:grpSpPr>
          <a:xfrm>
            <a:off x="110629" y="218505"/>
            <a:ext cx="1393456" cy="540533"/>
            <a:chOff x="254665" y="195486"/>
            <a:chExt cx="951720" cy="329081"/>
          </a:xfrm>
        </p:grpSpPr>
        <p:sp>
          <p:nvSpPr>
            <p:cNvPr id="80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3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4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5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6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7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8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0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1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2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3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4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2" name="Заголовок 3"/>
          <p:cNvSpPr txBox="1">
            <a:spLocks/>
          </p:cNvSpPr>
          <p:nvPr/>
        </p:nvSpPr>
        <p:spPr>
          <a:xfrm>
            <a:off x="1198975" y="52371"/>
            <a:ext cx="10471716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 lvl="0" algn="ctr"/>
            <a:r>
              <a:rPr lang="ru-RU" sz="2400" dirty="0">
                <a:solidFill>
                  <a:srgbClr val="002060"/>
                </a:solidFill>
              </a:rPr>
              <a:t>ЛИНИЯ УМК  Т. М. ЛИФАНОВОЙ, Е.Н.СОЛОМИНОЙ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/>
            </a:r>
            <a:b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</a:br>
            <a:r>
              <a:rPr kumimoji="0" lang="ru-RU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(для обучающихся с интеллектуальными нарушениями</a:t>
            </a:r>
            <a:r>
              <a:rPr lang="ru-RU" dirty="0">
                <a:solidFill>
                  <a:srgbClr val="002060"/>
                </a:solidFill>
              </a:rPr>
              <a:t>). 6-9 классы.   </a:t>
            </a:r>
            <a:r>
              <a:rPr kumimoji="0" lang="ru-RU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C приложением.</a:t>
            </a:r>
            <a:br>
              <a:rPr kumimoji="0" lang="ru-RU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</a:br>
            <a:endParaRPr kumimoji="0" lang="ru-RU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</a:endParaRPr>
          </a:p>
        </p:txBody>
      </p:sp>
      <p:pic>
        <p:nvPicPr>
          <p:cNvPr id="63" name="Picture 18" descr="https://catalog.prosv.ru/images/medium/45d43d3e-e2b3-11e4-8c1e-0050569c7d18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6479" y="1704923"/>
            <a:ext cx="2021942" cy="2903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12" descr="https://catalog.prosv.ru/images/medium/ac5bd3b6-e2b0-11e4-8c1e-0050569c7d18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252" y="1187921"/>
            <a:ext cx="2056908" cy="29043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4" name="Прямоугольник 73"/>
          <p:cNvSpPr/>
          <p:nvPr/>
        </p:nvSpPr>
        <p:spPr>
          <a:xfrm>
            <a:off x="4609614" y="1853364"/>
            <a:ext cx="6187498" cy="32778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</a:rPr>
              <a:t>Основная задача  УМК – дать учащимся с интеллектуальными нарушениями элементарные, но научные и систематизированные сведения о географических понятиях и представлениях.</a:t>
            </a:r>
          </a:p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0" cap="none" spc="0" normalizeH="0" baseline="0" noProof="0" dirty="0">
              <a:ln>
                <a:noFill/>
              </a:ln>
              <a:solidFill>
                <a:srgbClr val="181818"/>
              </a:solidFill>
              <a:effectLst/>
              <a:uLnTx/>
              <a:uFillTx/>
              <a:ea typeface="Calibri"/>
              <a:cs typeface="Times New Roman"/>
            </a:endParaRPr>
          </a:p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1" u="none" strike="noStrike" kern="0" cap="none" spc="0" normalizeH="0" baseline="0" noProof="0" dirty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ea typeface="Calibri"/>
                <a:cs typeface="Times New Roman"/>
              </a:rPr>
              <a:t>    Ключевые преимущества учебников</a:t>
            </a:r>
            <a:endParaRPr kumimoji="0" lang="ru-RU" sz="1600" b="0" i="1" u="none" strike="noStrike" kern="0" cap="none" spc="0" normalizeH="0" baseline="0" noProof="0" dirty="0">
              <a:ln>
                <a:noFill/>
              </a:ln>
              <a:solidFill>
                <a:srgbClr val="181818"/>
              </a:solidFill>
              <a:effectLst/>
              <a:uLnTx/>
              <a:uFillTx/>
            </a:endParaRPr>
          </a:p>
          <a:p>
            <a:pPr marL="285750" marR="0" lvl="0" indent="-28575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</a:rPr>
              <a:t>структура УМК помогает организовать работу учащихся с учебным материалом</a:t>
            </a:r>
          </a:p>
          <a:p>
            <a:pPr marL="285750" marR="0" lvl="0" indent="-28575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</a:rPr>
              <a:t>рубрика «Для любознательных …» после каждой темы способствует расширению кругозора учащихся, воспитывает у них заинтересованное отношение к окружающему миру</a:t>
            </a:r>
          </a:p>
          <a:p>
            <a:pPr marL="285750" marR="0" lvl="0" indent="-28575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</a:rPr>
              <a:t>иллюстративный материал помогает отчётливо представлять образы изучаемых географических объектов и явлений.</a:t>
            </a:r>
          </a:p>
        </p:txBody>
      </p:sp>
      <p:sp>
        <p:nvSpPr>
          <p:cNvPr id="50" name="Подзаголовок 3"/>
          <p:cNvSpPr txBox="1">
            <a:spLocks/>
          </p:cNvSpPr>
          <p:nvPr/>
        </p:nvSpPr>
        <p:spPr>
          <a:xfrm>
            <a:off x="918253" y="5087136"/>
            <a:ext cx="2132381" cy="1451081"/>
          </a:xfrm>
          <a:prstGeom prst="rect">
            <a:avLst/>
          </a:prstGeom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b="1" dirty="0">
                <a:latin typeface="Calibri" panose="020F0502020204030204" pitchFamily="34" charset="0"/>
                <a:cs typeface="Calibri" panose="020F0502020204030204" pitchFamily="34" charset="0"/>
              </a:rPr>
              <a:t>Состав УМК:</a:t>
            </a:r>
          </a:p>
          <a:p>
            <a:pPr marL="180975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рабочая программа</a:t>
            </a:r>
          </a:p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ЭФУ</a:t>
            </a:r>
          </a:p>
          <a:p>
            <a:pPr marL="180975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рабочие тетради</a:t>
            </a:r>
          </a:p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приложение</a:t>
            </a:r>
          </a:p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1" name="object 39"/>
          <p:cNvSpPr txBox="1"/>
          <p:nvPr/>
        </p:nvSpPr>
        <p:spPr>
          <a:xfrm>
            <a:off x="824316" y="4711644"/>
            <a:ext cx="2549380" cy="185948"/>
          </a:xfrm>
          <a:prstGeom prst="rect">
            <a:avLst/>
          </a:prstGeom>
          <a:solidFill>
            <a:srgbClr val="2C3493"/>
          </a:solidFill>
        </p:spPr>
        <p:txBody>
          <a:bodyPr vert="horz" wrap="square" lIns="0" tIns="1270" rIns="0" bIns="0" rtlCol="0">
            <a:spAutoFit/>
          </a:bodyPr>
          <a:lstStyle/>
          <a:p>
            <a:pPr marL="199390">
              <a:lnSpc>
                <a:spcPct val="100000"/>
              </a:lnSpc>
              <a:spcBef>
                <a:spcPts val="5"/>
              </a:spcBef>
            </a:pPr>
            <a:r>
              <a:rPr sz="1000" b="1" spc="-5" dirty="0">
                <a:solidFill>
                  <a:srgbClr val="FFFFFF"/>
                </a:solidFill>
                <a:latin typeface="Carlito"/>
                <a:cs typeface="Carlito"/>
              </a:rPr>
              <a:t>ФП №</a:t>
            </a:r>
            <a:r>
              <a:rPr lang="ru-RU" sz="1000" b="1" spc="-5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lang="ru-RU" sz="1200" b="1" spc="-10" dirty="0">
                <a:solidFill>
                  <a:srgbClr val="FFFFFF"/>
                </a:solidFill>
                <a:latin typeface="Carlito"/>
                <a:cs typeface="Carlito"/>
              </a:rPr>
              <a:t>1.1.2.3.4.4.1</a:t>
            </a:r>
            <a:r>
              <a:rPr lang="ru-RU" sz="1000" b="1" spc="-5" dirty="0">
                <a:solidFill>
                  <a:srgbClr val="FFFFFF"/>
                </a:solidFill>
                <a:latin typeface="Carlito"/>
                <a:cs typeface="Carlito"/>
              </a:rPr>
              <a:t> –</a:t>
            </a:r>
            <a:r>
              <a:rPr lang="ru-RU" sz="1000" b="1" spc="-10" dirty="0">
                <a:solidFill>
                  <a:srgbClr val="FFFFFF"/>
                </a:solidFill>
                <a:latin typeface="Carlito"/>
                <a:cs typeface="Carlito"/>
              </a:rPr>
              <a:t> 1.1.2.3.4.4.4</a:t>
            </a:r>
          </a:p>
        </p:txBody>
      </p:sp>
      <p:cxnSp>
        <p:nvCxnSpPr>
          <p:cNvPr id="53" name="Прямая соединительная линия 52"/>
          <p:cNvCxnSpPr/>
          <p:nvPr/>
        </p:nvCxnSpPr>
        <p:spPr>
          <a:xfrm>
            <a:off x="1504085" y="793203"/>
            <a:ext cx="9871584" cy="11019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0239029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01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xmlns="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11375669" y="2257824"/>
            <a:ext cx="812363" cy="754751"/>
          </a:xfrm>
          <a:prstGeom prst="rect">
            <a:avLst/>
          </a:prstGeom>
          <a:solidFill>
            <a:srgbClr val="40D4E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3"/>
          <p:cNvSpPr>
            <a:spLocks noChangeArrowheads="1"/>
          </p:cNvSpPr>
          <p:nvPr/>
        </p:nvSpPr>
        <p:spPr bwMode="auto">
          <a:xfrm>
            <a:off x="11375669" y="5276823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4"/>
          <p:cNvSpPr>
            <a:spLocks noChangeArrowheads="1"/>
          </p:cNvSpPr>
          <p:nvPr/>
        </p:nvSpPr>
        <p:spPr bwMode="auto">
          <a:xfrm>
            <a:off x="11376586" y="4522072"/>
            <a:ext cx="812363" cy="754751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17"/>
          <p:cNvSpPr>
            <a:spLocks noChangeArrowheads="1"/>
          </p:cNvSpPr>
          <p:nvPr/>
        </p:nvSpPr>
        <p:spPr bwMode="auto">
          <a:xfrm>
            <a:off x="11375670" y="-4589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19"/>
          <p:cNvSpPr>
            <a:spLocks noChangeArrowheads="1"/>
          </p:cNvSpPr>
          <p:nvPr/>
        </p:nvSpPr>
        <p:spPr bwMode="auto">
          <a:xfrm>
            <a:off x="11376586" y="3012572"/>
            <a:ext cx="812363" cy="754751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1"/>
          <p:cNvSpPr>
            <a:spLocks noChangeArrowheads="1"/>
          </p:cNvSpPr>
          <p:nvPr/>
        </p:nvSpPr>
        <p:spPr bwMode="auto">
          <a:xfrm>
            <a:off x="11376586" y="6031572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2"/>
          <p:cNvSpPr>
            <a:spLocks noChangeArrowheads="1"/>
          </p:cNvSpPr>
          <p:nvPr/>
        </p:nvSpPr>
        <p:spPr bwMode="auto">
          <a:xfrm>
            <a:off x="11375670" y="1502768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2" name="Rectangle 25"/>
          <p:cNvSpPr>
            <a:spLocks noChangeArrowheads="1"/>
          </p:cNvSpPr>
          <p:nvPr/>
        </p:nvSpPr>
        <p:spPr bwMode="auto">
          <a:xfrm>
            <a:off x="11376586" y="3767322"/>
            <a:ext cx="812363" cy="754751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29"/>
          <p:cNvSpPr>
            <a:spLocks noChangeArrowheads="1"/>
          </p:cNvSpPr>
          <p:nvPr/>
        </p:nvSpPr>
        <p:spPr bwMode="auto">
          <a:xfrm>
            <a:off x="11375670" y="748019"/>
            <a:ext cx="812363" cy="754751"/>
          </a:xfrm>
          <a:prstGeom prst="rect">
            <a:avLst/>
          </a:prstGeom>
          <a:solidFill>
            <a:srgbClr val="9ED44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2"/>
          <p:cNvSpPr>
            <a:spLocks noEditPoints="1"/>
          </p:cNvSpPr>
          <p:nvPr/>
        </p:nvSpPr>
        <p:spPr bwMode="auto">
          <a:xfrm>
            <a:off x="11600809" y="2514255"/>
            <a:ext cx="362085" cy="271895"/>
          </a:xfrm>
          <a:custGeom>
            <a:avLst/>
            <a:gdLst>
              <a:gd name="T0" fmla="*/ 787 w 859"/>
              <a:gd name="T1" fmla="*/ 107 h 644"/>
              <a:gd name="T2" fmla="*/ 787 w 859"/>
              <a:gd name="T3" fmla="*/ 573 h 644"/>
              <a:gd name="T4" fmla="*/ 537 w 859"/>
              <a:gd name="T5" fmla="*/ 573 h 644"/>
              <a:gd name="T6" fmla="*/ 465 w 859"/>
              <a:gd name="T7" fmla="*/ 644 h 644"/>
              <a:gd name="T8" fmla="*/ 859 w 859"/>
              <a:gd name="T9" fmla="*/ 644 h 644"/>
              <a:gd name="T10" fmla="*/ 859 w 859"/>
              <a:gd name="T11" fmla="*/ 107 h 644"/>
              <a:gd name="T12" fmla="*/ 787 w 859"/>
              <a:gd name="T13" fmla="*/ 107 h 644"/>
              <a:gd name="T14" fmla="*/ 476 w 859"/>
              <a:gd name="T15" fmla="*/ 476 h 644"/>
              <a:gd name="T16" fmla="*/ 383 w 859"/>
              <a:gd name="T17" fmla="*/ 476 h 644"/>
              <a:gd name="T18" fmla="*/ 373 w 859"/>
              <a:gd name="T19" fmla="*/ 465 h 644"/>
              <a:gd name="T20" fmla="*/ 179 w 859"/>
              <a:gd name="T21" fmla="*/ 465 h 644"/>
              <a:gd name="T22" fmla="*/ 179 w 859"/>
              <a:gd name="T23" fmla="*/ 71 h 644"/>
              <a:gd name="T24" fmla="*/ 344 w 859"/>
              <a:gd name="T25" fmla="*/ 71 h 644"/>
              <a:gd name="T26" fmla="*/ 393 w 859"/>
              <a:gd name="T27" fmla="*/ 96 h 644"/>
              <a:gd name="T28" fmla="*/ 393 w 859"/>
              <a:gd name="T29" fmla="*/ 358 h 644"/>
              <a:gd name="T30" fmla="*/ 465 w 859"/>
              <a:gd name="T31" fmla="*/ 358 h 644"/>
              <a:gd name="T32" fmla="*/ 465 w 859"/>
              <a:gd name="T33" fmla="*/ 96 h 644"/>
              <a:gd name="T34" fmla="*/ 515 w 859"/>
              <a:gd name="T35" fmla="*/ 71 h 644"/>
              <a:gd name="T36" fmla="*/ 680 w 859"/>
              <a:gd name="T37" fmla="*/ 71 h 644"/>
              <a:gd name="T38" fmla="*/ 680 w 859"/>
              <a:gd name="T39" fmla="*/ 465 h 644"/>
              <a:gd name="T40" fmla="*/ 486 w 859"/>
              <a:gd name="T41" fmla="*/ 465 h 644"/>
              <a:gd name="T42" fmla="*/ 476 w 859"/>
              <a:gd name="T43" fmla="*/ 476 h 644"/>
              <a:gd name="T44" fmla="*/ 752 w 859"/>
              <a:gd name="T45" fmla="*/ 537 h 644"/>
              <a:gd name="T46" fmla="*/ 752 w 859"/>
              <a:gd name="T47" fmla="*/ 0 h 644"/>
              <a:gd name="T48" fmla="*/ 486 w 859"/>
              <a:gd name="T49" fmla="*/ 0 h 644"/>
              <a:gd name="T50" fmla="*/ 476 w 859"/>
              <a:gd name="T51" fmla="*/ 10 h 644"/>
              <a:gd name="T52" fmla="*/ 383 w 859"/>
              <a:gd name="T53" fmla="*/ 10 h 644"/>
              <a:gd name="T54" fmla="*/ 373 w 859"/>
              <a:gd name="T55" fmla="*/ 0 h 644"/>
              <a:gd name="T56" fmla="*/ 107 w 859"/>
              <a:gd name="T57" fmla="*/ 0 h 644"/>
              <a:gd name="T58" fmla="*/ 107 w 859"/>
              <a:gd name="T59" fmla="*/ 537 h 644"/>
              <a:gd name="T60" fmla="*/ 344 w 859"/>
              <a:gd name="T61" fmla="*/ 537 h 644"/>
              <a:gd name="T62" fmla="*/ 429 w 859"/>
              <a:gd name="T63" fmla="*/ 566 h 644"/>
              <a:gd name="T64" fmla="*/ 515 w 859"/>
              <a:gd name="T65" fmla="*/ 537 h 644"/>
              <a:gd name="T66" fmla="*/ 752 w 859"/>
              <a:gd name="T67" fmla="*/ 537 h 644"/>
              <a:gd name="T68" fmla="*/ 71 w 859"/>
              <a:gd name="T69" fmla="*/ 573 h 644"/>
              <a:gd name="T70" fmla="*/ 71 w 859"/>
              <a:gd name="T71" fmla="*/ 107 h 644"/>
              <a:gd name="T72" fmla="*/ 0 w 859"/>
              <a:gd name="T73" fmla="*/ 107 h 644"/>
              <a:gd name="T74" fmla="*/ 0 w 859"/>
              <a:gd name="T75" fmla="*/ 644 h 644"/>
              <a:gd name="T76" fmla="*/ 394 w 859"/>
              <a:gd name="T77" fmla="*/ 644 h 644"/>
              <a:gd name="T78" fmla="*/ 322 w 859"/>
              <a:gd name="T79" fmla="*/ 573 h 644"/>
              <a:gd name="T80" fmla="*/ 71 w 859"/>
              <a:gd name="T81" fmla="*/ 573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9" h="644">
                <a:moveTo>
                  <a:pt x="787" y="107"/>
                </a:moveTo>
                <a:lnTo>
                  <a:pt x="787" y="573"/>
                </a:lnTo>
                <a:lnTo>
                  <a:pt x="537" y="573"/>
                </a:lnTo>
                <a:lnTo>
                  <a:pt x="465" y="644"/>
                </a:lnTo>
                <a:lnTo>
                  <a:pt x="859" y="644"/>
                </a:lnTo>
                <a:lnTo>
                  <a:pt x="859" y="107"/>
                </a:lnTo>
                <a:lnTo>
                  <a:pt x="787" y="107"/>
                </a:lnTo>
                <a:close/>
                <a:moveTo>
                  <a:pt x="476" y="476"/>
                </a:moveTo>
                <a:cubicBezTo>
                  <a:pt x="450" y="501"/>
                  <a:pt x="409" y="501"/>
                  <a:pt x="383" y="476"/>
                </a:cubicBezTo>
                <a:lnTo>
                  <a:pt x="373" y="465"/>
                </a:lnTo>
                <a:lnTo>
                  <a:pt x="179" y="465"/>
                </a:lnTo>
                <a:lnTo>
                  <a:pt x="179" y="71"/>
                </a:lnTo>
                <a:lnTo>
                  <a:pt x="344" y="71"/>
                </a:lnTo>
                <a:cubicBezTo>
                  <a:pt x="359" y="71"/>
                  <a:pt x="393" y="91"/>
                  <a:pt x="393" y="96"/>
                </a:cubicBezTo>
                <a:lnTo>
                  <a:pt x="393" y="358"/>
                </a:lnTo>
                <a:lnTo>
                  <a:pt x="465" y="358"/>
                </a:lnTo>
                <a:lnTo>
                  <a:pt x="465" y="96"/>
                </a:lnTo>
                <a:cubicBezTo>
                  <a:pt x="465" y="91"/>
                  <a:pt x="500" y="71"/>
                  <a:pt x="515" y="71"/>
                </a:cubicBezTo>
                <a:lnTo>
                  <a:pt x="680" y="71"/>
                </a:lnTo>
                <a:lnTo>
                  <a:pt x="680" y="465"/>
                </a:lnTo>
                <a:lnTo>
                  <a:pt x="486" y="465"/>
                </a:lnTo>
                <a:lnTo>
                  <a:pt x="476" y="476"/>
                </a:lnTo>
                <a:close/>
                <a:moveTo>
                  <a:pt x="752" y="537"/>
                </a:moveTo>
                <a:lnTo>
                  <a:pt x="752" y="0"/>
                </a:lnTo>
                <a:lnTo>
                  <a:pt x="486" y="0"/>
                </a:lnTo>
                <a:lnTo>
                  <a:pt x="476" y="10"/>
                </a:lnTo>
                <a:cubicBezTo>
                  <a:pt x="450" y="36"/>
                  <a:pt x="409" y="36"/>
                  <a:pt x="383" y="10"/>
                </a:cubicBezTo>
                <a:lnTo>
                  <a:pt x="373" y="0"/>
                </a:lnTo>
                <a:lnTo>
                  <a:pt x="107" y="0"/>
                </a:lnTo>
                <a:lnTo>
                  <a:pt x="107" y="537"/>
                </a:lnTo>
                <a:lnTo>
                  <a:pt x="344" y="537"/>
                </a:lnTo>
                <a:cubicBezTo>
                  <a:pt x="369" y="573"/>
                  <a:pt x="399" y="566"/>
                  <a:pt x="429" y="566"/>
                </a:cubicBezTo>
                <a:cubicBezTo>
                  <a:pt x="460" y="566"/>
                  <a:pt x="490" y="573"/>
                  <a:pt x="515" y="537"/>
                </a:cubicBezTo>
                <a:lnTo>
                  <a:pt x="752" y="537"/>
                </a:lnTo>
                <a:close/>
                <a:moveTo>
                  <a:pt x="71" y="573"/>
                </a:moveTo>
                <a:lnTo>
                  <a:pt x="71" y="107"/>
                </a:lnTo>
                <a:lnTo>
                  <a:pt x="0" y="107"/>
                </a:lnTo>
                <a:lnTo>
                  <a:pt x="0" y="644"/>
                </a:lnTo>
                <a:lnTo>
                  <a:pt x="394" y="644"/>
                </a:lnTo>
                <a:lnTo>
                  <a:pt x="322" y="573"/>
                </a:lnTo>
                <a:lnTo>
                  <a:pt x="71" y="5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0"/>
          <p:cNvSpPr>
            <a:spLocks noEditPoints="1"/>
          </p:cNvSpPr>
          <p:nvPr/>
        </p:nvSpPr>
        <p:spPr bwMode="auto">
          <a:xfrm>
            <a:off x="11601728" y="1744503"/>
            <a:ext cx="360248" cy="301287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8" name="Freeform 41"/>
          <p:cNvSpPr>
            <a:spLocks/>
          </p:cNvSpPr>
          <p:nvPr/>
        </p:nvSpPr>
        <p:spPr bwMode="auto">
          <a:xfrm>
            <a:off x="11600809" y="4756459"/>
            <a:ext cx="362085" cy="315984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69" name="Группа 68"/>
          <p:cNvGrpSpPr/>
          <p:nvPr/>
        </p:nvGrpSpPr>
        <p:grpSpPr>
          <a:xfrm>
            <a:off x="11614594" y="200960"/>
            <a:ext cx="334516" cy="361915"/>
            <a:chOff x="477468" y="2705515"/>
            <a:chExt cx="409903" cy="443477"/>
          </a:xfrm>
        </p:grpSpPr>
        <p:sp>
          <p:nvSpPr>
            <p:cNvPr id="70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1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72" name="Freeform 44"/>
          <p:cNvSpPr>
            <a:spLocks noEditPoints="1"/>
          </p:cNvSpPr>
          <p:nvPr/>
        </p:nvSpPr>
        <p:spPr bwMode="auto">
          <a:xfrm>
            <a:off x="11606322" y="5464056"/>
            <a:ext cx="351059" cy="380284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3" name="Freeform 45"/>
          <p:cNvSpPr>
            <a:spLocks noEditPoints="1"/>
          </p:cNvSpPr>
          <p:nvPr/>
        </p:nvSpPr>
        <p:spPr bwMode="auto">
          <a:xfrm>
            <a:off x="11601728" y="966788"/>
            <a:ext cx="360248" cy="347216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89" name="Freeform 46"/>
          <p:cNvSpPr>
            <a:spLocks noEditPoints="1"/>
          </p:cNvSpPr>
          <p:nvPr/>
        </p:nvSpPr>
        <p:spPr bwMode="auto">
          <a:xfrm>
            <a:off x="11655949" y="3977824"/>
            <a:ext cx="251807" cy="363751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5" name="Freeform 52"/>
          <p:cNvSpPr>
            <a:spLocks noEditPoints="1"/>
          </p:cNvSpPr>
          <p:nvPr/>
        </p:nvSpPr>
        <p:spPr bwMode="auto">
          <a:xfrm>
            <a:off x="11605404" y="3223075"/>
            <a:ext cx="352896" cy="36375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Freeform 53"/>
          <p:cNvSpPr>
            <a:spLocks noEditPoints="1"/>
          </p:cNvSpPr>
          <p:nvPr/>
        </p:nvSpPr>
        <p:spPr bwMode="auto">
          <a:xfrm>
            <a:off x="11594376" y="6260448"/>
            <a:ext cx="374952" cy="327005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115" name="AutoShape 4"/>
          <p:cNvSpPr>
            <a:spLocks noChangeAspect="1" noChangeArrowheads="1" noTextEdit="1"/>
          </p:cNvSpPr>
          <p:nvPr/>
        </p:nvSpPr>
        <p:spPr bwMode="auto">
          <a:xfrm>
            <a:off x="5844301" y="1808388"/>
            <a:ext cx="918665" cy="317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1739511" y="134122"/>
            <a:ext cx="98141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002060"/>
                </a:solidFill>
              </a:rPr>
              <a:t>ЛИНИЯ УМК под ред. В.Н. ХОЛИНОЙ. 10-11 КЛАССЫ </a:t>
            </a:r>
            <a:r>
              <a:rPr lang="ru-RU" b="1" dirty="0">
                <a:solidFill>
                  <a:srgbClr val="002060"/>
                </a:solidFill>
              </a:rPr>
              <a:t>(углубленный уровень)</a:t>
            </a:r>
          </a:p>
        </p:txBody>
      </p: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7" name="object 49"/>
          <p:cNvSpPr/>
          <p:nvPr/>
        </p:nvSpPr>
        <p:spPr>
          <a:xfrm>
            <a:off x="2526540" y="1549501"/>
            <a:ext cx="1941970" cy="2604921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  <a:ln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rtlCol="0"/>
          <a:lstStyle/>
          <a:p>
            <a:r>
              <a:rPr lang="ru-RU" dirty="0"/>
              <a:t>             </a:t>
            </a:r>
            <a:endParaRPr dirty="0"/>
          </a:p>
        </p:txBody>
      </p:sp>
      <p:sp>
        <p:nvSpPr>
          <p:cNvPr id="50" name="object 52"/>
          <p:cNvSpPr/>
          <p:nvPr/>
        </p:nvSpPr>
        <p:spPr>
          <a:xfrm>
            <a:off x="200117" y="1531625"/>
            <a:ext cx="1946212" cy="2604921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  <a:ln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rtlCol="0"/>
          <a:lstStyle/>
          <a:p>
            <a:r>
              <a:rPr lang="ru-RU" dirty="0"/>
              <a:t>     </a:t>
            </a:r>
            <a:endParaRPr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5120729" y="1549501"/>
            <a:ext cx="5212880" cy="30623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ru-RU" b="1" i="1" dirty="0"/>
              <a:t>          Ключевые преимущества учебнико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600" dirty="0"/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/>
              <a:t>способствует формированию целостной картины мира, становлению творческой и инициативной личности, воспитывает умение видеть проблемы и принимать решения.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/>
              <a:t>предоставляет возможность решать творческие задачи, имитирующие «взрослую» жизнь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/>
              <a:t>позволяет выстраивать индивидуальные траектории обучения</a:t>
            </a:r>
          </a:p>
          <a:p>
            <a:endParaRPr lang="ru-RU" sz="1600" dirty="0"/>
          </a:p>
        </p:txBody>
      </p:sp>
      <p:grpSp>
        <p:nvGrpSpPr>
          <p:cNvPr id="42" name="Группа 41"/>
          <p:cNvGrpSpPr/>
          <p:nvPr/>
        </p:nvGrpSpPr>
        <p:grpSpPr>
          <a:xfrm>
            <a:off x="222362" y="200960"/>
            <a:ext cx="1409971" cy="553274"/>
            <a:chOff x="254665" y="195486"/>
            <a:chExt cx="951720" cy="329081"/>
          </a:xfrm>
        </p:grpSpPr>
        <p:sp>
          <p:nvSpPr>
            <p:cNvPr id="55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83" name="Подзаголовок 3"/>
          <p:cNvSpPr txBox="1">
            <a:spLocks/>
          </p:cNvSpPr>
          <p:nvPr/>
        </p:nvSpPr>
        <p:spPr>
          <a:xfrm>
            <a:off x="1203616" y="4612139"/>
            <a:ext cx="2216989" cy="1014248"/>
          </a:xfrm>
          <a:prstGeom prst="rect">
            <a:avLst/>
          </a:prstGeom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b="1" dirty="0">
                <a:latin typeface="Calibri" panose="020F0502020204030204" pitchFamily="34" charset="0"/>
                <a:cs typeface="Calibri" panose="020F0502020204030204" pitchFamily="34" charset="0"/>
              </a:rPr>
              <a:t>Состав УМК:</a:t>
            </a:r>
          </a:p>
          <a:p>
            <a:pPr marL="285750" lvl="0" indent="-2857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книга для учителя</a:t>
            </a:r>
          </a:p>
          <a:p>
            <a:pPr marL="285750" indent="-2857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рабочая программа</a:t>
            </a:r>
          </a:p>
          <a:p>
            <a:pPr marL="285750" lvl="0" indent="-2857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ЭФУ</a:t>
            </a:r>
          </a:p>
        </p:txBody>
      </p:sp>
      <p:sp>
        <p:nvSpPr>
          <p:cNvPr id="84" name="Подзаголовок 3"/>
          <p:cNvSpPr txBox="1">
            <a:spLocks/>
          </p:cNvSpPr>
          <p:nvPr/>
        </p:nvSpPr>
        <p:spPr>
          <a:xfrm>
            <a:off x="1203616" y="5794577"/>
            <a:ext cx="1904648" cy="648254"/>
          </a:xfrm>
          <a:prstGeom prst="rect">
            <a:avLst/>
          </a:prstGeom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0" indent="-2857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рабочие тетради</a:t>
            </a:r>
          </a:p>
          <a:p>
            <a:pPr marL="285750" lvl="0" indent="-2857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атлас</a:t>
            </a:r>
          </a:p>
        </p:txBody>
      </p:sp>
      <p:sp>
        <p:nvSpPr>
          <p:cNvPr id="51" name="object 40"/>
          <p:cNvSpPr txBox="1"/>
          <p:nvPr/>
        </p:nvSpPr>
        <p:spPr>
          <a:xfrm>
            <a:off x="1263976" y="4236134"/>
            <a:ext cx="2386530" cy="234680"/>
          </a:xfrm>
          <a:prstGeom prst="rect">
            <a:avLst/>
          </a:prstGeom>
          <a:solidFill>
            <a:srgbClr val="2C3493"/>
          </a:solidFill>
        </p:spPr>
        <p:txBody>
          <a:bodyPr vert="horz" wrap="square" lIns="0" tIns="49530" rIns="0" bIns="0" rtlCol="0">
            <a:spAutoFit/>
          </a:bodyPr>
          <a:lstStyle/>
          <a:p>
            <a:pPr marL="1905">
              <a:lnSpc>
                <a:spcPct val="100000"/>
              </a:lnSpc>
              <a:spcBef>
                <a:spcPts val="390"/>
              </a:spcBef>
            </a:pPr>
            <a:r>
              <a:rPr sz="1200" b="1" spc="-5" dirty="0">
                <a:solidFill>
                  <a:srgbClr val="FFFFFF"/>
                </a:solidFill>
                <a:latin typeface="Carlito"/>
                <a:cs typeface="Carlito"/>
              </a:rPr>
              <a:t>ФП № </a:t>
            </a:r>
            <a:r>
              <a:rPr sz="1200" b="1" spc="-10" dirty="0">
                <a:solidFill>
                  <a:srgbClr val="FFFFFF"/>
                </a:solidFill>
                <a:latin typeface="Carlito"/>
                <a:cs typeface="Carlito"/>
              </a:rPr>
              <a:t>1</a:t>
            </a:r>
            <a:r>
              <a:rPr lang="ru-RU" sz="1200" b="1" spc="-10" dirty="0">
                <a:solidFill>
                  <a:srgbClr val="FFFFFF"/>
                </a:solidFill>
                <a:latin typeface="Carlito"/>
                <a:cs typeface="Carlito"/>
              </a:rPr>
              <a:t>.1</a:t>
            </a:r>
            <a:r>
              <a:rPr sz="1200" b="1" spc="-10" dirty="0">
                <a:solidFill>
                  <a:srgbClr val="FFFFFF"/>
                </a:solidFill>
                <a:latin typeface="Carlito"/>
                <a:cs typeface="Carlito"/>
              </a:rPr>
              <a:t>.3.3.2.</a:t>
            </a:r>
            <a:r>
              <a:rPr lang="ru-RU" sz="1200" b="1" spc="-10" dirty="0">
                <a:solidFill>
                  <a:srgbClr val="FFFFFF"/>
                </a:solidFill>
                <a:latin typeface="Carlito"/>
                <a:cs typeface="Carlito"/>
              </a:rPr>
              <a:t>9.</a:t>
            </a:r>
            <a:r>
              <a:rPr sz="1200" b="1" spc="-10" dirty="0">
                <a:solidFill>
                  <a:srgbClr val="FFFFFF"/>
                </a:solidFill>
                <a:latin typeface="Carlito"/>
                <a:cs typeface="Carlito"/>
              </a:rPr>
              <a:t>1</a:t>
            </a:r>
            <a:r>
              <a:rPr sz="1200" b="1" spc="45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1200" b="1" spc="-5" dirty="0">
                <a:solidFill>
                  <a:srgbClr val="FFFFFF"/>
                </a:solidFill>
                <a:latin typeface="Carlito"/>
                <a:cs typeface="Carlito"/>
              </a:rPr>
              <a:t>–</a:t>
            </a:r>
            <a:r>
              <a:rPr lang="en-US" sz="1200" dirty="0">
                <a:latin typeface="Carlito"/>
                <a:cs typeface="Carlito"/>
              </a:rPr>
              <a:t> </a:t>
            </a:r>
            <a:r>
              <a:rPr sz="1200" b="1" spc="-10" dirty="0">
                <a:solidFill>
                  <a:srgbClr val="FFFFFF"/>
                </a:solidFill>
                <a:latin typeface="Carlito"/>
                <a:cs typeface="Carlito"/>
              </a:rPr>
              <a:t>1.</a:t>
            </a:r>
            <a:r>
              <a:rPr lang="ru-RU" sz="1200" b="1" spc="-10" dirty="0">
                <a:solidFill>
                  <a:srgbClr val="FFFFFF"/>
                </a:solidFill>
                <a:latin typeface="Carlito"/>
                <a:cs typeface="Carlito"/>
              </a:rPr>
              <a:t>1.</a:t>
            </a:r>
            <a:r>
              <a:rPr sz="1200" b="1" spc="-10" dirty="0">
                <a:solidFill>
                  <a:srgbClr val="FFFFFF"/>
                </a:solidFill>
                <a:latin typeface="Carlito"/>
                <a:cs typeface="Carlito"/>
              </a:rPr>
              <a:t>3.3.2.</a:t>
            </a:r>
            <a:r>
              <a:rPr lang="ru-RU" sz="1200" b="1" spc="-10" dirty="0">
                <a:solidFill>
                  <a:srgbClr val="FFFFFF"/>
                </a:solidFill>
                <a:latin typeface="Carlito"/>
                <a:cs typeface="Carlito"/>
              </a:rPr>
              <a:t>9.</a:t>
            </a:r>
            <a:r>
              <a:rPr sz="1200" b="1" spc="-10" dirty="0">
                <a:solidFill>
                  <a:srgbClr val="FFFFFF"/>
                </a:solidFill>
                <a:latin typeface="Carlito"/>
                <a:cs typeface="Carlito"/>
              </a:rPr>
              <a:t>2</a:t>
            </a:r>
            <a:endParaRPr lang="en-US" sz="1200" b="1" spc="-10" dirty="0">
              <a:solidFill>
                <a:srgbClr val="FFFFFF"/>
              </a:solidFill>
              <a:latin typeface="Carlito"/>
              <a:cs typeface="Carlito"/>
            </a:endParaRPr>
          </a:p>
        </p:txBody>
      </p:sp>
      <p:cxnSp>
        <p:nvCxnSpPr>
          <p:cNvPr id="53" name="Прямая соединительная линия 52"/>
          <p:cNvCxnSpPr/>
          <p:nvPr/>
        </p:nvCxnSpPr>
        <p:spPr>
          <a:xfrm>
            <a:off x="1650668" y="723527"/>
            <a:ext cx="9706667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709648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33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xmlns="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11375669" y="2257824"/>
            <a:ext cx="812363" cy="754751"/>
          </a:xfrm>
          <a:prstGeom prst="rect">
            <a:avLst/>
          </a:prstGeom>
          <a:solidFill>
            <a:srgbClr val="40D4E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3"/>
          <p:cNvSpPr>
            <a:spLocks noChangeArrowheads="1"/>
          </p:cNvSpPr>
          <p:nvPr/>
        </p:nvSpPr>
        <p:spPr bwMode="auto">
          <a:xfrm>
            <a:off x="11375669" y="5276823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4"/>
          <p:cNvSpPr>
            <a:spLocks noChangeArrowheads="1"/>
          </p:cNvSpPr>
          <p:nvPr/>
        </p:nvSpPr>
        <p:spPr bwMode="auto">
          <a:xfrm>
            <a:off x="11376586" y="4522072"/>
            <a:ext cx="812363" cy="754751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17"/>
          <p:cNvSpPr>
            <a:spLocks noChangeArrowheads="1"/>
          </p:cNvSpPr>
          <p:nvPr/>
        </p:nvSpPr>
        <p:spPr bwMode="auto">
          <a:xfrm>
            <a:off x="11375670" y="-4589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19"/>
          <p:cNvSpPr>
            <a:spLocks noChangeArrowheads="1"/>
          </p:cNvSpPr>
          <p:nvPr/>
        </p:nvSpPr>
        <p:spPr bwMode="auto">
          <a:xfrm>
            <a:off x="11376586" y="3012572"/>
            <a:ext cx="812363" cy="754751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1"/>
          <p:cNvSpPr>
            <a:spLocks noChangeArrowheads="1"/>
          </p:cNvSpPr>
          <p:nvPr/>
        </p:nvSpPr>
        <p:spPr bwMode="auto">
          <a:xfrm>
            <a:off x="11376586" y="6031572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2"/>
          <p:cNvSpPr>
            <a:spLocks noChangeArrowheads="1"/>
          </p:cNvSpPr>
          <p:nvPr/>
        </p:nvSpPr>
        <p:spPr bwMode="auto">
          <a:xfrm>
            <a:off x="11375670" y="1502768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2" name="Rectangle 25"/>
          <p:cNvSpPr>
            <a:spLocks noChangeArrowheads="1"/>
          </p:cNvSpPr>
          <p:nvPr/>
        </p:nvSpPr>
        <p:spPr bwMode="auto">
          <a:xfrm>
            <a:off x="11376586" y="3767322"/>
            <a:ext cx="812363" cy="754751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29"/>
          <p:cNvSpPr>
            <a:spLocks noChangeArrowheads="1"/>
          </p:cNvSpPr>
          <p:nvPr/>
        </p:nvSpPr>
        <p:spPr bwMode="auto">
          <a:xfrm>
            <a:off x="11375670" y="748019"/>
            <a:ext cx="812363" cy="754751"/>
          </a:xfrm>
          <a:prstGeom prst="rect">
            <a:avLst/>
          </a:prstGeom>
          <a:solidFill>
            <a:srgbClr val="9ED44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2"/>
          <p:cNvSpPr>
            <a:spLocks noEditPoints="1"/>
          </p:cNvSpPr>
          <p:nvPr/>
        </p:nvSpPr>
        <p:spPr bwMode="auto">
          <a:xfrm>
            <a:off x="11600809" y="2514255"/>
            <a:ext cx="362085" cy="271895"/>
          </a:xfrm>
          <a:custGeom>
            <a:avLst/>
            <a:gdLst>
              <a:gd name="T0" fmla="*/ 787 w 859"/>
              <a:gd name="T1" fmla="*/ 107 h 644"/>
              <a:gd name="T2" fmla="*/ 787 w 859"/>
              <a:gd name="T3" fmla="*/ 573 h 644"/>
              <a:gd name="T4" fmla="*/ 537 w 859"/>
              <a:gd name="T5" fmla="*/ 573 h 644"/>
              <a:gd name="T6" fmla="*/ 465 w 859"/>
              <a:gd name="T7" fmla="*/ 644 h 644"/>
              <a:gd name="T8" fmla="*/ 859 w 859"/>
              <a:gd name="T9" fmla="*/ 644 h 644"/>
              <a:gd name="T10" fmla="*/ 859 w 859"/>
              <a:gd name="T11" fmla="*/ 107 h 644"/>
              <a:gd name="T12" fmla="*/ 787 w 859"/>
              <a:gd name="T13" fmla="*/ 107 h 644"/>
              <a:gd name="T14" fmla="*/ 476 w 859"/>
              <a:gd name="T15" fmla="*/ 476 h 644"/>
              <a:gd name="T16" fmla="*/ 383 w 859"/>
              <a:gd name="T17" fmla="*/ 476 h 644"/>
              <a:gd name="T18" fmla="*/ 373 w 859"/>
              <a:gd name="T19" fmla="*/ 465 h 644"/>
              <a:gd name="T20" fmla="*/ 179 w 859"/>
              <a:gd name="T21" fmla="*/ 465 h 644"/>
              <a:gd name="T22" fmla="*/ 179 w 859"/>
              <a:gd name="T23" fmla="*/ 71 h 644"/>
              <a:gd name="T24" fmla="*/ 344 w 859"/>
              <a:gd name="T25" fmla="*/ 71 h 644"/>
              <a:gd name="T26" fmla="*/ 393 w 859"/>
              <a:gd name="T27" fmla="*/ 96 h 644"/>
              <a:gd name="T28" fmla="*/ 393 w 859"/>
              <a:gd name="T29" fmla="*/ 358 h 644"/>
              <a:gd name="T30" fmla="*/ 465 w 859"/>
              <a:gd name="T31" fmla="*/ 358 h 644"/>
              <a:gd name="T32" fmla="*/ 465 w 859"/>
              <a:gd name="T33" fmla="*/ 96 h 644"/>
              <a:gd name="T34" fmla="*/ 515 w 859"/>
              <a:gd name="T35" fmla="*/ 71 h 644"/>
              <a:gd name="T36" fmla="*/ 680 w 859"/>
              <a:gd name="T37" fmla="*/ 71 h 644"/>
              <a:gd name="T38" fmla="*/ 680 w 859"/>
              <a:gd name="T39" fmla="*/ 465 h 644"/>
              <a:gd name="T40" fmla="*/ 486 w 859"/>
              <a:gd name="T41" fmla="*/ 465 h 644"/>
              <a:gd name="T42" fmla="*/ 476 w 859"/>
              <a:gd name="T43" fmla="*/ 476 h 644"/>
              <a:gd name="T44" fmla="*/ 752 w 859"/>
              <a:gd name="T45" fmla="*/ 537 h 644"/>
              <a:gd name="T46" fmla="*/ 752 w 859"/>
              <a:gd name="T47" fmla="*/ 0 h 644"/>
              <a:gd name="T48" fmla="*/ 486 w 859"/>
              <a:gd name="T49" fmla="*/ 0 h 644"/>
              <a:gd name="T50" fmla="*/ 476 w 859"/>
              <a:gd name="T51" fmla="*/ 10 h 644"/>
              <a:gd name="T52" fmla="*/ 383 w 859"/>
              <a:gd name="T53" fmla="*/ 10 h 644"/>
              <a:gd name="T54" fmla="*/ 373 w 859"/>
              <a:gd name="T55" fmla="*/ 0 h 644"/>
              <a:gd name="T56" fmla="*/ 107 w 859"/>
              <a:gd name="T57" fmla="*/ 0 h 644"/>
              <a:gd name="T58" fmla="*/ 107 w 859"/>
              <a:gd name="T59" fmla="*/ 537 h 644"/>
              <a:gd name="T60" fmla="*/ 344 w 859"/>
              <a:gd name="T61" fmla="*/ 537 h 644"/>
              <a:gd name="T62" fmla="*/ 429 w 859"/>
              <a:gd name="T63" fmla="*/ 566 h 644"/>
              <a:gd name="T64" fmla="*/ 515 w 859"/>
              <a:gd name="T65" fmla="*/ 537 h 644"/>
              <a:gd name="T66" fmla="*/ 752 w 859"/>
              <a:gd name="T67" fmla="*/ 537 h 644"/>
              <a:gd name="T68" fmla="*/ 71 w 859"/>
              <a:gd name="T69" fmla="*/ 573 h 644"/>
              <a:gd name="T70" fmla="*/ 71 w 859"/>
              <a:gd name="T71" fmla="*/ 107 h 644"/>
              <a:gd name="T72" fmla="*/ 0 w 859"/>
              <a:gd name="T73" fmla="*/ 107 h 644"/>
              <a:gd name="T74" fmla="*/ 0 w 859"/>
              <a:gd name="T75" fmla="*/ 644 h 644"/>
              <a:gd name="T76" fmla="*/ 394 w 859"/>
              <a:gd name="T77" fmla="*/ 644 h 644"/>
              <a:gd name="T78" fmla="*/ 322 w 859"/>
              <a:gd name="T79" fmla="*/ 573 h 644"/>
              <a:gd name="T80" fmla="*/ 71 w 859"/>
              <a:gd name="T81" fmla="*/ 573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9" h="644">
                <a:moveTo>
                  <a:pt x="787" y="107"/>
                </a:moveTo>
                <a:lnTo>
                  <a:pt x="787" y="573"/>
                </a:lnTo>
                <a:lnTo>
                  <a:pt x="537" y="573"/>
                </a:lnTo>
                <a:lnTo>
                  <a:pt x="465" y="644"/>
                </a:lnTo>
                <a:lnTo>
                  <a:pt x="859" y="644"/>
                </a:lnTo>
                <a:lnTo>
                  <a:pt x="859" y="107"/>
                </a:lnTo>
                <a:lnTo>
                  <a:pt x="787" y="107"/>
                </a:lnTo>
                <a:close/>
                <a:moveTo>
                  <a:pt x="476" y="476"/>
                </a:moveTo>
                <a:cubicBezTo>
                  <a:pt x="450" y="501"/>
                  <a:pt x="409" y="501"/>
                  <a:pt x="383" y="476"/>
                </a:cubicBezTo>
                <a:lnTo>
                  <a:pt x="373" y="465"/>
                </a:lnTo>
                <a:lnTo>
                  <a:pt x="179" y="465"/>
                </a:lnTo>
                <a:lnTo>
                  <a:pt x="179" y="71"/>
                </a:lnTo>
                <a:lnTo>
                  <a:pt x="344" y="71"/>
                </a:lnTo>
                <a:cubicBezTo>
                  <a:pt x="359" y="71"/>
                  <a:pt x="393" y="91"/>
                  <a:pt x="393" y="96"/>
                </a:cubicBezTo>
                <a:lnTo>
                  <a:pt x="393" y="358"/>
                </a:lnTo>
                <a:lnTo>
                  <a:pt x="465" y="358"/>
                </a:lnTo>
                <a:lnTo>
                  <a:pt x="465" y="96"/>
                </a:lnTo>
                <a:cubicBezTo>
                  <a:pt x="465" y="91"/>
                  <a:pt x="500" y="71"/>
                  <a:pt x="515" y="71"/>
                </a:cubicBezTo>
                <a:lnTo>
                  <a:pt x="680" y="71"/>
                </a:lnTo>
                <a:lnTo>
                  <a:pt x="680" y="465"/>
                </a:lnTo>
                <a:lnTo>
                  <a:pt x="486" y="465"/>
                </a:lnTo>
                <a:lnTo>
                  <a:pt x="476" y="476"/>
                </a:lnTo>
                <a:close/>
                <a:moveTo>
                  <a:pt x="752" y="537"/>
                </a:moveTo>
                <a:lnTo>
                  <a:pt x="752" y="0"/>
                </a:lnTo>
                <a:lnTo>
                  <a:pt x="486" y="0"/>
                </a:lnTo>
                <a:lnTo>
                  <a:pt x="476" y="10"/>
                </a:lnTo>
                <a:cubicBezTo>
                  <a:pt x="450" y="36"/>
                  <a:pt x="409" y="36"/>
                  <a:pt x="383" y="10"/>
                </a:cubicBezTo>
                <a:lnTo>
                  <a:pt x="373" y="0"/>
                </a:lnTo>
                <a:lnTo>
                  <a:pt x="107" y="0"/>
                </a:lnTo>
                <a:lnTo>
                  <a:pt x="107" y="537"/>
                </a:lnTo>
                <a:lnTo>
                  <a:pt x="344" y="537"/>
                </a:lnTo>
                <a:cubicBezTo>
                  <a:pt x="369" y="573"/>
                  <a:pt x="399" y="566"/>
                  <a:pt x="429" y="566"/>
                </a:cubicBezTo>
                <a:cubicBezTo>
                  <a:pt x="460" y="566"/>
                  <a:pt x="490" y="573"/>
                  <a:pt x="515" y="537"/>
                </a:cubicBezTo>
                <a:lnTo>
                  <a:pt x="752" y="537"/>
                </a:lnTo>
                <a:close/>
                <a:moveTo>
                  <a:pt x="71" y="573"/>
                </a:moveTo>
                <a:lnTo>
                  <a:pt x="71" y="107"/>
                </a:lnTo>
                <a:lnTo>
                  <a:pt x="0" y="107"/>
                </a:lnTo>
                <a:lnTo>
                  <a:pt x="0" y="644"/>
                </a:lnTo>
                <a:lnTo>
                  <a:pt x="394" y="644"/>
                </a:lnTo>
                <a:lnTo>
                  <a:pt x="322" y="573"/>
                </a:lnTo>
                <a:lnTo>
                  <a:pt x="71" y="5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0"/>
          <p:cNvSpPr>
            <a:spLocks noEditPoints="1"/>
          </p:cNvSpPr>
          <p:nvPr/>
        </p:nvSpPr>
        <p:spPr bwMode="auto">
          <a:xfrm>
            <a:off x="11601728" y="1744503"/>
            <a:ext cx="360248" cy="301287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8" name="Freeform 41"/>
          <p:cNvSpPr>
            <a:spLocks/>
          </p:cNvSpPr>
          <p:nvPr/>
        </p:nvSpPr>
        <p:spPr bwMode="auto">
          <a:xfrm>
            <a:off x="11600809" y="4756459"/>
            <a:ext cx="362085" cy="315984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69" name="Группа 68"/>
          <p:cNvGrpSpPr/>
          <p:nvPr/>
        </p:nvGrpSpPr>
        <p:grpSpPr>
          <a:xfrm>
            <a:off x="11614594" y="200960"/>
            <a:ext cx="334516" cy="361915"/>
            <a:chOff x="477468" y="2705515"/>
            <a:chExt cx="409903" cy="443477"/>
          </a:xfrm>
        </p:grpSpPr>
        <p:sp>
          <p:nvSpPr>
            <p:cNvPr id="70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1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72" name="Freeform 44"/>
          <p:cNvSpPr>
            <a:spLocks noEditPoints="1"/>
          </p:cNvSpPr>
          <p:nvPr/>
        </p:nvSpPr>
        <p:spPr bwMode="auto">
          <a:xfrm>
            <a:off x="11606322" y="5464056"/>
            <a:ext cx="351059" cy="380284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3" name="Freeform 45"/>
          <p:cNvSpPr>
            <a:spLocks noEditPoints="1"/>
          </p:cNvSpPr>
          <p:nvPr/>
        </p:nvSpPr>
        <p:spPr bwMode="auto">
          <a:xfrm>
            <a:off x="11601728" y="966788"/>
            <a:ext cx="360248" cy="347216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89" name="Freeform 46"/>
          <p:cNvSpPr>
            <a:spLocks noEditPoints="1"/>
          </p:cNvSpPr>
          <p:nvPr/>
        </p:nvSpPr>
        <p:spPr bwMode="auto">
          <a:xfrm>
            <a:off x="11655949" y="3977824"/>
            <a:ext cx="251807" cy="363751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5" name="Freeform 52"/>
          <p:cNvSpPr>
            <a:spLocks noEditPoints="1"/>
          </p:cNvSpPr>
          <p:nvPr/>
        </p:nvSpPr>
        <p:spPr bwMode="auto">
          <a:xfrm>
            <a:off x="11605404" y="3223075"/>
            <a:ext cx="352896" cy="36375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Freeform 53"/>
          <p:cNvSpPr>
            <a:spLocks noEditPoints="1"/>
          </p:cNvSpPr>
          <p:nvPr/>
        </p:nvSpPr>
        <p:spPr bwMode="auto">
          <a:xfrm>
            <a:off x="11594376" y="6260448"/>
            <a:ext cx="374952" cy="327005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115" name="AutoShape 4"/>
          <p:cNvSpPr>
            <a:spLocks noChangeAspect="1" noChangeArrowheads="1" noTextEdit="1"/>
          </p:cNvSpPr>
          <p:nvPr/>
        </p:nvSpPr>
        <p:spPr bwMode="auto">
          <a:xfrm>
            <a:off x="5844301" y="1808388"/>
            <a:ext cx="918665" cy="317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79" name="Группа 78"/>
          <p:cNvGrpSpPr/>
          <p:nvPr/>
        </p:nvGrpSpPr>
        <p:grpSpPr>
          <a:xfrm>
            <a:off x="224412" y="130939"/>
            <a:ext cx="1268960" cy="438775"/>
            <a:chOff x="254665" y="195486"/>
            <a:chExt cx="951720" cy="329081"/>
          </a:xfrm>
        </p:grpSpPr>
        <p:sp>
          <p:nvSpPr>
            <p:cNvPr id="80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3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4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5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6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7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8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0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1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2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3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4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2018720" y="160191"/>
            <a:ext cx="926223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002060"/>
                </a:solidFill>
              </a:rPr>
              <a:t>КОМПОНЕНТЫ УМК под ред. В.Н. ХОЛИНОЙ. 10-11 КЛАССЫ </a:t>
            </a:r>
          </a:p>
          <a:p>
            <a:pPr algn="ctr"/>
            <a:r>
              <a:rPr lang="ru-RU" sz="2400" b="1" dirty="0">
                <a:solidFill>
                  <a:srgbClr val="002060"/>
                </a:solidFill>
              </a:rPr>
              <a:t>(углубленный уровень)</a:t>
            </a:r>
          </a:p>
          <a:p>
            <a:endParaRPr lang="ru-RU" sz="2400" b="1" dirty="0">
              <a:solidFill>
                <a:srgbClr val="002060"/>
              </a:solidFill>
              <a:latin typeface="Carlito"/>
            </a:endParaRPr>
          </a:p>
        </p:txBody>
      </p: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494785"/>
            <a:ext cx="4421068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45" name="Прямая соединительная линия 44"/>
          <p:cNvCxnSpPr/>
          <p:nvPr/>
        </p:nvCxnSpPr>
        <p:spPr>
          <a:xfrm>
            <a:off x="1498707" y="569714"/>
            <a:ext cx="9876962" cy="10043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7" name="Picture 39" descr="География. 11 класс. Рабочая тетрадь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8403" y="1360520"/>
            <a:ext cx="1519237" cy="2152661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37" descr="География. 10 класс. Рабочая тетрадь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089" y="1359438"/>
            <a:ext cx="1519237" cy="2152661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Прямоугольник 50"/>
          <p:cNvSpPr/>
          <p:nvPr/>
        </p:nvSpPr>
        <p:spPr>
          <a:xfrm>
            <a:off x="1910343" y="975450"/>
            <a:ext cx="168648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buClr>
                <a:srgbClr val="2D3494"/>
              </a:buClr>
            </a:pPr>
            <a:r>
              <a:rPr lang="ru-RU" sz="1600" b="1" dirty="0">
                <a:latin typeface="Calibri" panose="020F0502020204030204" pitchFamily="34" charset="0"/>
                <a:cs typeface="Calibri" panose="020F0502020204030204" pitchFamily="34" charset="0"/>
              </a:rPr>
              <a:t>рабочие тетради</a:t>
            </a:r>
          </a:p>
        </p:txBody>
      </p:sp>
      <p:pic>
        <p:nvPicPr>
          <p:cNvPr id="53" name="Picture 41" descr="География. 10–11 классы. Атлас 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7038" y="3950540"/>
            <a:ext cx="1888317" cy="2497729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4" name="Прямоугольник 53"/>
          <p:cNvSpPr/>
          <p:nvPr/>
        </p:nvSpPr>
        <p:spPr>
          <a:xfrm>
            <a:off x="2293676" y="3648088"/>
            <a:ext cx="71500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buClr>
                <a:srgbClr val="2D3494"/>
              </a:buClr>
            </a:pPr>
            <a:r>
              <a:rPr lang="ru-RU" sz="1600" b="1" dirty="0">
                <a:latin typeface="Calibri" panose="020F0502020204030204" pitchFamily="34" charset="0"/>
                <a:cs typeface="Calibri" panose="020F0502020204030204" pitchFamily="34" charset="0"/>
              </a:rPr>
              <a:t>Атлас </a:t>
            </a:r>
          </a:p>
        </p:txBody>
      </p:sp>
      <p:pic>
        <p:nvPicPr>
          <p:cNvPr id="55" name="Picture 72" descr="http://qrcoder.ru/code/?https%3A%2F%2Fshop.prosv.ru%2Fkatalog%23%2Forderby%3D5%26sFilters%3D6%21101438%3B&amp;10&amp;0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4007" y="2501665"/>
            <a:ext cx="2457220" cy="245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34" descr="География. Углубленный уровень. 10–11 классы. Книга для учителя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10932" y="1593646"/>
            <a:ext cx="1709797" cy="2419143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8" name="Прямоугольник 57"/>
          <p:cNvSpPr/>
          <p:nvPr/>
        </p:nvSpPr>
        <p:spPr>
          <a:xfrm>
            <a:off x="8789716" y="985671"/>
            <a:ext cx="234089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buClr>
                <a:srgbClr val="2D3494"/>
              </a:buClr>
            </a:pPr>
            <a:r>
              <a:rPr lang="ru-RU" sz="1400" b="1" dirty="0">
                <a:latin typeface="Carlito"/>
                <a:cs typeface="Calibri" panose="020F0502020204030204" pitchFamily="34" charset="0"/>
              </a:rPr>
              <a:t>книга для учителя</a:t>
            </a:r>
          </a:p>
          <a:p>
            <a:pPr lvl="0">
              <a:buClr>
                <a:srgbClr val="2D3494"/>
              </a:buClr>
            </a:pPr>
            <a:r>
              <a:rPr lang="ru-RU" sz="1400" b="1" dirty="0">
                <a:latin typeface="Carlito"/>
                <a:cs typeface="Calibri" panose="020F0502020204030204" pitchFamily="34" charset="0"/>
              </a:rPr>
              <a:t>(методическое пособие)</a:t>
            </a:r>
          </a:p>
        </p:txBody>
      </p:sp>
      <p:sp>
        <p:nvSpPr>
          <p:cNvPr id="60" name="object 52"/>
          <p:cNvSpPr/>
          <p:nvPr/>
        </p:nvSpPr>
        <p:spPr>
          <a:xfrm>
            <a:off x="9098595" y="5727989"/>
            <a:ext cx="135488" cy="204115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53"/>
          <p:cNvSpPr/>
          <p:nvPr/>
        </p:nvSpPr>
        <p:spPr>
          <a:xfrm>
            <a:off x="8968844" y="5623164"/>
            <a:ext cx="414655" cy="424420"/>
          </a:xfrm>
          <a:custGeom>
            <a:avLst/>
            <a:gdLst/>
            <a:ahLst/>
            <a:cxnLst/>
            <a:rect l="l" t="t" r="r" b="b"/>
            <a:pathLst>
              <a:path w="414654" h="411479">
                <a:moveTo>
                  <a:pt x="227838" y="0"/>
                </a:moveTo>
                <a:lnTo>
                  <a:pt x="183769" y="0"/>
                </a:lnTo>
                <a:lnTo>
                  <a:pt x="166116" y="2920"/>
                </a:lnTo>
                <a:lnTo>
                  <a:pt x="126365" y="14604"/>
                </a:lnTo>
                <a:lnTo>
                  <a:pt x="89662" y="33654"/>
                </a:lnTo>
                <a:lnTo>
                  <a:pt x="60325" y="60070"/>
                </a:lnTo>
                <a:lnTo>
                  <a:pt x="33782" y="89280"/>
                </a:lnTo>
                <a:lnTo>
                  <a:pt x="25019" y="106933"/>
                </a:lnTo>
                <a:lnTo>
                  <a:pt x="14732" y="124459"/>
                </a:lnTo>
                <a:lnTo>
                  <a:pt x="8763" y="143509"/>
                </a:lnTo>
                <a:lnTo>
                  <a:pt x="4445" y="162559"/>
                </a:lnTo>
                <a:lnTo>
                  <a:pt x="0" y="183006"/>
                </a:lnTo>
                <a:lnTo>
                  <a:pt x="0" y="226948"/>
                </a:lnTo>
                <a:lnTo>
                  <a:pt x="4445" y="247522"/>
                </a:lnTo>
                <a:lnTo>
                  <a:pt x="8763" y="265048"/>
                </a:lnTo>
                <a:lnTo>
                  <a:pt x="14732" y="284098"/>
                </a:lnTo>
                <a:lnTo>
                  <a:pt x="25019" y="303148"/>
                </a:lnTo>
                <a:lnTo>
                  <a:pt x="33782" y="320674"/>
                </a:lnTo>
                <a:lnTo>
                  <a:pt x="46990" y="336803"/>
                </a:lnTo>
                <a:lnTo>
                  <a:pt x="60325" y="349973"/>
                </a:lnTo>
                <a:lnTo>
                  <a:pt x="74930" y="364616"/>
                </a:lnTo>
                <a:lnTo>
                  <a:pt x="89662" y="376339"/>
                </a:lnTo>
                <a:lnTo>
                  <a:pt x="107315" y="385127"/>
                </a:lnTo>
                <a:lnTo>
                  <a:pt x="126365" y="395376"/>
                </a:lnTo>
                <a:lnTo>
                  <a:pt x="145542" y="402691"/>
                </a:lnTo>
                <a:lnTo>
                  <a:pt x="166116" y="408546"/>
                </a:lnTo>
                <a:lnTo>
                  <a:pt x="183769" y="410019"/>
                </a:lnTo>
                <a:lnTo>
                  <a:pt x="207264" y="411479"/>
                </a:lnTo>
                <a:lnTo>
                  <a:pt x="248412" y="408546"/>
                </a:lnTo>
                <a:lnTo>
                  <a:pt x="267589" y="402691"/>
                </a:lnTo>
                <a:lnTo>
                  <a:pt x="288163" y="395376"/>
                </a:lnTo>
                <a:lnTo>
                  <a:pt x="304292" y="385127"/>
                </a:lnTo>
                <a:lnTo>
                  <a:pt x="310184" y="382193"/>
                </a:lnTo>
                <a:lnTo>
                  <a:pt x="188214" y="382193"/>
                </a:lnTo>
                <a:lnTo>
                  <a:pt x="170561" y="377799"/>
                </a:lnTo>
                <a:lnTo>
                  <a:pt x="154305" y="374865"/>
                </a:lnTo>
                <a:lnTo>
                  <a:pt x="136651" y="369011"/>
                </a:lnTo>
                <a:lnTo>
                  <a:pt x="122047" y="361695"/>
                </a:lnTo>
                <a:lnTo>
                  <a:pt x="107315" y="351447"/>
                </a:lnTo>
                <a:lnTo>
                  <a:pt x="94107" y="342658"/>
                </a:lnTo>
                <a:lnTo>
                  <a:pt x="58800" y="303148"/>
                </a:lnTo>
                <a:lnTo>
                  <a:pt x="35306" y="257682"/>
                </a:lnTo>
                <a:lnTo>
                  <a:pt x="27940" y="204977"/>
                </a:lnTo>
                <a:lnTo>
                  <a:pt x="29337" y="187451"/>
                </a:lnTo>
                <a:lnTo>
                  <a:pt x="32385" y="169925"/>
                </a:lnTo>
                <a:lnTo>
                  <a:pt x="35306" y="153796"/>
                </a:lnTo>
                <a:lnTo>
                  <a:pt x="42672" y="136143"/>
                </a:lnTo>
                <a:lnTo>
                  <a:pt x="51435" y="121538"/>
                </a:lnTo>
                <a:lnTo>
                  <a:pt x="58800" y="106933"/>
                </a:lnTo>
                <a:lnTo>
                  <a:pt x="107315" y="57149"/>
                </a:lnTo>
                <a:lnTo>
                  <a:pt x="154305" y="35178"/>
                </a:lnTo>
                <a:lnTo>
                  <a:pt x="207264" y="27812"/>
                </a:lnTo>
                <a:lnTo>
                  <a:pt x="311919" y="27812"/>
                </a:lnTo>
                <a:lnTo>
                  <a:pt x="304292" y="23367"/>
                </a:lnTo>
                <a:lnTo>
                  <a:pt x="288163" y="14604"/>
                </a:lnTo>
                <a:lnTo>
                  <a:pt x="267589" y="7365"/>
                </a:lnTo>
                <a:lnTo>
                  <a:pt x="248412" y="2920"/>
                </a:lnTo>
                <a:lnTo>
                  <a:pt x="227838" y="0"/>
                </a:lnTo>
                <a:close/>
              </a:path>
              <a:path w="414654" h="411479">
                <a:moveTo>
                  <a:pt x="311919" y="27812"/>
                </a:moveTo>
                <a:lnTo>
                  <a:pt x="207264" y="27812"/>
                </a:lnTo>
                <a:lnTo>
                  <a:pt x="223393" y="29336"/>
                </a:lnTo>
                <a:lnTo>
                  <a:pt x="242570" y="30733"/>
                </a:lnTo>
                <a:lnTo>
                  <a:pt x="260223" y="35178"/>
                </a:lnTo>
                <a:lnTo>
                  <a:pt x="274827" y="42417"/>
                </a:lnTo>
                <a:lnTo>
                  <a:pt x="291084" y="49783"/>
                </a:lnTo>
                <a:lnTo>
                  <a:pt x="304292" y="57149"/>
                </a:lnTo>
                <a:lnTo>
                  <a:pt x="320421" y="68833"/>
                </a:lnTo>
                <a:lnTo>
                  <a:pt x="330708" y="80517"/>
                </a:lnTo>
                <a:lnTo>
                  <a:pt x="343916" y="93725"/>
                </a:lnTo>
                <a:lnTo>
                  <a:pt x="370459" y="136143"/>
                </a:lnTo>
                <a:lnTo>
                  <a:pt x="379222" y="169925"/>
                </a:lnTo>
                <a:lnTo>
                  <a:pt x="383667" y="187451"/>
                </a:lnTo>
                <a:lnTo>
                  <a:pt x="383667" y="222630"/>
                </a:lnTo>
                <a:lnTo>
                  <a:pt x="379222" y="241553"/>
                </a:lnTo>
                <a:lnTo>
                  <a:pt x="376300" y="257682"/>
                </a:lnTo>
                <a:lnTo>
                  <a:pt x="354202" y="303148"/>
                </a:lnTo>
                <a:lnTo>
                  <a:pt x="330708" y="329476"/>
                </a:lnTo>
                <a:lnTo>
                  <a:pt x="320421" y="342658"/>
                </a:lnTo>
                <a:lnTo>
                  <a:pt x="304292" y="351447"/>
                </a:lnTo>
                <a:lnTo>
                  <a:pt x="291084" y="361695"/>
                </a:lnTo>
                <a:lnTo>
                  <a:pt x="274827" y="369011"/>
                </a:lnTo>
                <a:lnTo>
                  <a:pt x="260223" y="374865"/>
                </a:lnTo>
                <a:lnTo>
                  <a:pt x="242570" y="377799"/>
                </a:lnTo>
                <a:lnTo>
                  <a:pt x="223393" y="382193"/>
                </a:lnTo>
                <a:lnTo>
                  <a:pt x="310184" y="382193"/>
                </a:lnTo>
                <a:lnTo>
                  <a:pt x="321945" y="376339"/>
                </a:lnTo>
                <a:lnTo>
                  <a:pt x="338074" y="364616"/>
                </a:lnTo>
                <a:lnTo>
                  <a:pt x="354202" y="349973"/>
                </a:lnTo>
                <a:lnTo>
                  <a:pt x="367538" y="336803"/>
                </a:lnTo>
                <a:lnTo>
                  <a:pt x="377825" y="320674"/>
                </a:lnTo>
                <a:lnTo>
                  <a:pt x="389509" y="303148"/>
                </a:lnTo>
                <a:lnTo>
                  <a:pt x="404241" y="265048"/>
                </a:lnTo>
                <a:lnTo>
                  <a:pt x="410083" y="247522"/>
                </a:lnTo>
                <a:lnTo>
                  <a:pt x="411607" y="226948"/>
                </a:lnTo>
                <a:lnTo>
                  <a:pt x="414527" y="204977"/>
                </a:lnTo>
                <a:lnTo>
                  <a:pt x="411607" y="183006"/>
                </a:lnTo>
                <a:lnTo>
                  <a:pt x="410083" y="162559"/>
                </a:lnTo>
                <a:lnTo>
                  <a:pt x="404241" y="143509"/>
                </a:lnTo>
                <a:lnTo>
                  <a:pt x="389509" y="106933"/>
                </a:lnTo>
                <a:lnTo>
                  <a:pt x="367538" y="74675"/>
                </a:lnTo>
                <a:lnTo>
                  <a:pt x="321945" y="33654"/>
                </a:lnTo>
                <a:lnTo>
                  <a:pt x="311919" y="27812"/>
                </a:lnTo>
                <a:close/>
              </a:path>
            </a:pathLst>
          </a:custGeom>
          <a:solidFill>
            <a:srgbClr val="2E36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Прямоугольник 61"/>
          <p:cNvSpPr/>
          <p:nvPr/>
        </p:nvSpPr>
        <p:spPr>
          <a:xfrm>
            <a:off x="9464734" y="5602526"/>
            <a:ext cx="1768375" cy="6591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ru-RU" sz="1200" dirty="0">
                <a:solidFill>
                  <a:srgbClr val="171717"/>
                </a:solidFill>
                <a:latin typeface="Carlito"/>
                <a:cs typeface="Carlito"/>
              </a:rPr>
              <a:t>в электронной форме</a:t>
            </a:r>
          </a:p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ru-RU" sz="1200" dirty="0">
                <a:solidFill>
                  <a:srgbClr val="171717"/>
                </a:solidFill>
                <a:latin typeface="Carlito"/>
                <a:cs typeface="Carlito"/>
              </a:rPr>
              <a:t> доступна для скачивания на сайте</a:t>
            </a:r>
          </a:p>
        </p:txBody>
      </p:sp>
      <p:sp>
        <p:nvSpPr>
          <p:cNvPr id="63" name="Прямоугольник 62"/>
          <p:cNvSpPr/>
          <p:nvPr/>
        </p:nvSpPr>
        <p:spPr>
          <a:xfrm>
            <a:off x="9456938" y="5306315"/>
            <a:ext cx="191781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2D3494"/>
              </a:buClr>
            </a:pPr>
            <a:r>
              <a:rPr lang="ru-RU" sz="1200" b="1" dirty="0">
                <a:latin typeface="Calibri" panose="020F0502020204030204" pitchFamily="34" charset="0"/>
                <a:cs typeface="Calibri" panose="020F0502020204030204" pitchFamily="34" charset="0"/>
              </a:rPr>
              <a:t>рабочая программа</a:t>
            </a:r>
          </a:p>
        </p:txBody>
      </p:sp>
    </p:spTree>
    <p:extLst>
      <p:ext uri="{BB962C8B-B14F-4D97-AF65-F5344CB8AC3E}">
        <p14:creationId xmlns:p14="http://schemas.microsoft.com/office/powerpoint/2010/main" val="318791173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80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xmlns="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11375669" y="2257824"/>
            <a:ext cx="812363" cy="754751"/>
          </a:xfrm>
          <a:prstGeom prst="rect">
            <a:avLst/>
          </a:prstGeom>
          <a:solidFill>
            <a:srgbClr val="40D4E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3"/>
          <p:cNvSpPr>
            <a:spLocks noChangeArrowheads="1"/>
          </p:cNvSpPr>
          <p:nvPr/>
        </p:nvSpPr>
        <p:spPr bwMode="auto">
          <a:xfrm>
            <a:off x="11375669" y="5276823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4"/>
          <p:cNvSpPr>
            <a:spLocks noChangeArrowheads="1"/>
          </p:cNvSpPr>
          <p:nvPr/>
        </p:nvSpPr>
        <p:spPr bwMode="auto">
          <a:xfrm>
            <a:off x="11376586" y="4522072"/>
            <a:ext cx="812363" cy="754751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17"/>
          <p:cNvSpPr>
            <a:spLocks noChangeArrowheads="1"/>
          </p:cNvSpPr>
          <p:nvPr/>
        </p:nvSpPr>
        <p:spPr bwMode="auto">
          <a:xfrm>
            <a:off x="11375670" y="-4589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19"/>
          <p:cNvSpPr>
            <a:spLocks noChangeArrowheads="1"/>
          </p:cNvSpPr>
          <p:nvPr/>
        </p:nvSpPr>
        <p:spPr bwMode="auto">
          <a:xfrm>
            <a:off x="11376586" y="3012572"/>
            <a:ext cx="812363" cy="754751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1"/>
          <p:cNvSpPr>
            <a:spLocks noChangeArrowheads="1"/>
          </p:cNvSpPr>
          <p:nvPr/>
        </p:nvSpPr>
        <p:spPr bwMode="auto">
          <a:xfrm>
            <a:off x="11376586" y="6031572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2"/>
          <p:cNvSpPr>
            <a:spLocks noChangeArrowheads="1"/>
          </p:cNvSpPr>
          <p:nvPr/>
        </p:nvSpPr>
        <p:spPr bwMode="auto">
          <a:xfrm>
            <a:off x="11375670" y="1502768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2" name="Rectangle 25"/>
          <p:cNvSpPr>
            <a:spLocks noChangeArrowheads="1"/>
          </p:cNvSpPr>
          <p:nvPr/>
        </p:nvSpPr>
        <p:spPr bwMode="auto">
          <a:xfrm>
            <a:off x="11376586" y="3767322"/>
            <a:ext cx="812363" cy="754751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29"/>
          <p:cNvSpPr>
            <a:spLocks noChangeArrowheads="1"/>
          </p:cNvSpPr>
          <p:nvPr/>
        </p:nvSpPr>
        <p:spPr bwMode="auto">
          <a:xfrm>
            <a:off x="11375670" y="748019"/>
            <a:ext cx="812363" cy="754751"/>
          </a:xfrm>
          <a:prstGeom prst="rect">
            <a:avLst/>
          </a:prstGeom>
          <a:solidFill>
            <a:srgbClr val="9ED44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2"/>
          <p:cNvSpPr>
            <a:spLocks noEditPoints="1"/>
          </p:cNvSpPr>
          <p:nvPr/>
        </p:nvSpPr>
        <p:spPr bwMode="auto">
          <a:xfrm>
            <a:off x="11600809" y="2514255"/>
            <a:ext cx="362085" cy="271895"/>
          </a:xfrm>
          <a:custGeom>
            <a:avLst/>
            <a:gdLst>
              <a:gd name="T0" fmla="*/ 787 w 859"/>
              <a:gd name="T1" fmla="*/ 107 h 644"/>
              <a:gd name="T2" fmla="*/ 787 w 859"/>
              <a:gd name="T3" fmla="*/ 573 h 644"/>
              <a:gd name="T4" fmla="*/ 537 w 859"/>
              <a:gd name="T5" fmla="*/ 573 h 644"/>
              <a:gd name="T6" fmla="*/ 465 w 859"/>
              <a:gd name="T7" fmla="*/ 644 h 644"/>
              <a:gd name="T8" fmla="*/ 859 w 859"/>
              <a:gd name="T9" fmla="*/ 644 h 644"/>
              <a:gd name="T10" fmla="*/ 859 w 859"/>
              <a:gd name="T11" fmla="*/ 107 h 644"/>
              <a:gd name="T12" fmla="*/ 787 w 859"/>
              <a:gd name="T13" fmla="*/ 107 h 644"/>
              <a:gd name="T14" fmla="*/ 476 w 859"/>
              <a:gd name="T15" fmla="*/ 476 h 644"/>
              <a:gd name="T16" fmla="*/ 383 w 859"/>
              <a:gd name="T17" fmla="*/ 476 h 644"/>
              <a:gd name="T18" fmla="*/ 373 w 859"/>
              <a:gd name="T19" fmla="*/ 465 h 644"/>
              <a:gd name="T20" fmla="*/ 179 w 859"/>
              <a:gd name="T21" fmla="*/ 465 h 644"/>
              <a:gd name="T22" fmla="*/ 179 w 859"/>
              <a:gd name="T23" fmla="*/ 71 h 644"/>
              <a:gd name="T24" fmla="*/ 344 w 859"/>
              <a:gd name="T25" fmla="*/ 71 h 644"/>
              <a:gd name="T26" fmla="*/ 393 w 859"/>
              <a:gd name="T27" fmla="*/ 96 h 644"/>
              <a:gd name="T28" fmla="*/ 393 w 859"/>
              <a:gd name="T29" fmla="*/ 358 h 644"/>
              <a:gd name="T30" fmla="*/ 465 w 859"/>
              <a:gd name="T31" fmla="*/ 358 h 644"/>
              <a:gd name="T32" fmla="*/ 465 w 859"/>
              <a:gd name="T33" fmla="*/ 96 h 644"/>
              <a:gd name="T34" fmla="*/ 515 w 859"/>
              <a:gd name="T35" fmla="*/ 71 h 644"/>
              <a:gd name="T36" fmla="*/ 680 w 859"/>
              <a:gd name="T37" fmla="*/ 71 h 644"/>
              <a:gd name="T38" fmla="*/ 680 w 859"/>
              <a:gd name="T39" fmla="*/ 465 h 644"/>
              <a:gd name="T40" fmla="*/ 486 w 859"/>
              <a:gd name="T41" fmla="*/ 465 h 644"/>
              <a:gd name="T42" fmla="*/ 476 w 859"/>
              <a:gd name="T43" fmla="*/ 476 h 644"/>
              <a:gd name="T44" fmla="*/ 752 w 859"/>
              <a:gd name="T45" fmla="*/ 537 h 644"/>
              <a:gd name="T46" fmla="*/ 752 w 859"/>
              <a:gd name="T47" fmla="*/ 0 h 644"/>
              <a:gd name="T48" fmla="*/ 486 w 859"/>
              <a:gd name="T49" fmla="*/ 0 h 644"/>
              <a:gd name="T50" fmla="*/ 476 w 859"/>
              <a:gd name="T51" fmla="*/ 10 h 644"/>
              <a:gd name="T52" fmla="*/ 383 w 859"/>
              <a:gd name="T53" fmla="*/ 10 h 644"/>
              <a:gd name="T54" fmla="*/ 373 w 859"/>
              <a:gd name="T55" fmla="*/ 0 h 644"/>
              <a:gd name="T56" fmla="*/ 107 w 859"/>
              <a:gd name="T57" fmla="*/ 0 h 644"/>
              <a:gd name="T58" fmla="*/ 107 w 859"/>
              <a:gd name="T59" fmla="*/ 537 h 644"/>
              <a:gd name="T60" fmla="*/ 344 w 859"/>
              <a:gd name="T61" fmla="*/ 537 h 644"/>
              <a:gd name="T62" fmla="*/ 429 w 859"/>
              <a:gd name="T63" fmla="*/ 566 h 644"/>
              <a:gd name="T64" fmla="*/ 515 w 859"/>
              <a:gd name="T65" fmla="*/ 537 h 644"/>
              <a:gd name="T66" fmla="*/ 752 w 859"/>
              <a:gd name="T67" fmla="*/ 537 h 644"/>
              <a:gd name="T68" fmla="*/ 71 w 859"/>
              <a:gd name="T69" fmla="*/ 573 h 644"/>
              <a:gd name="T70" fmla="*/ 71 w 859"/>
              <a:gd name="T71" fmla="*/ 107 h 644"/>
              <a:gd name="T72" fmla="*/ 0 w 859"/>
              <a:gd name="T73" fmla="*/ 107 h 644"/>
              <a:gd name="T74" fmla="*/ 0 w 859"/>
              <a:gd name="T75" fmla="*/ 644 h 644"/>
              <a:gd name="T76" fmla="*/ 394 w 859"/>
              <a:gd name="T77" fmla="*/ 644 h 644"/>
              <a:gd name="T78" fmla="*/ 322 w 859"/>
              <a:gd name="T79" fmla="*/ 573 h 644"/>
              <a:gd name="T80" fmla="*/ 71 w 859"/>
              <a:gd name="T81" fmla="*/ 573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9" h="644">
                <a:moveTo>
                  <a:pt x="787" y="107"/>
                </a:moveTo>
                <a:lnTo>
                  <a:pt x="787" y="573"/>
                </a:lnTo>
                <a:lnTo>
                  <a:pt x="537" y="573"/>
                </a:lnTo>
                <a:lnTo>
                  <a:pt x="465" y="644"/>
                </a:lnTo>
                <a:lnTo>
                  <a:pt x="859" y="644"/>
                </a:lnTo>
                <a:lnTo>
                  <a:pt x="859" y="107"/>
                </a:lnTo>
                <a:lnTo>
                  <a:pt x="787" y="107"/>
                </a:lnTo>
                <a:close/>
                <a:moveTo>
                  <a:pt x="476" y="476"/>
                </a:moveTo>
                <a:cubicBezTo>
                  <a:pt x="450" y="501"/>
                  <a:pt x="409" y="501"/>
                  <a:pt x="383" y="476"/>
                </a:cubicBezTo>
                <a:lnTo>
                  <a:pt x="373" y="465"/>
                </a:lnTo>
                <a:lnTo>
                  <a:pt x="179" y="465"/>
                </a:lnTo>
                <a:lnTo>
                  <a:pt x="179" y="71"/>
                </a:lnTo>
                <a:lnTo>
                  <a:pt x="344" y="71"/>
                </a:lnTo>
                <a:cubicBezTo>
                  <a:pt x="359" y="71"/>
                  <a:pt x="393" y="91"/>
                  <a:pt x="393" y="96"/>
                </a:cubicBezTo>
                <a:lnTo>
                  <a:pt x="393" y="358"/>
                </a:lnTo>
                <a:lnTo>
                  <a:pt x="465" y="358"/>
                </a:lnTo>
                <a:lnTo>
                  <a:pt x="465" y="96"/>
                </a:lnTo>
                <a:cubicBezTo>
                  <a:pt x="465" y="91"/>
                  <a:pt x="500" y="71"/>
                  <a:pt x="515" y="71"/>
                </a:cubicBezTo>
                <a:lnTo>
                  <a:pt x="680" y="71"/>
                </a:lnTo>
                <a:lnTo>
                  <a:pt x="680" y="465"/>
                </a:lnTo>
                <a:lnTo>
                  <a:pt x="486" y="465"/>
                </a:lnTo>
                <a:lnTo>
                  <a:pt x="476" y="476"/>
                </a:lnTo>
                <a:close/>
                <a:moveTo>
                  <a:pt x="752" y="537"/>
                </a:moveTo>
                <a:lnTo>
                  <a:pt x="752" y="0"/>
                </a:lnTo>
                <a:lnTo>
                  <a:pt x="486" y="0"/>
                </a:lnTo>
                <a:lnTo>
                  <a:pt x="476" y="10"/>
                </a:lnTo>
                <a:cubicBezTo>
                  <a:pt x="450" y="36"/>
                  <a:pt x="409" y="36"/>
                  <a:pt x="383" y="10"/>
                </a:cubicBezTo>
                <a:lnTo>
                  <a:pt x="373" y="0"/>
                </a:lnTo>
                <a:lnTo>
                  <a:pt x="107" y="0"/>
                </a:lnTo>
                <a:lnTo>
                  <a:pt x="107" y="537"/>
                </a:lnTo>
                <a:lnTo>
                  <a:pt x="344" y="537"/>
                </a:lnTo>
                <a:cubicBezTo>
                  <a:pt x="369" y="573"/>
                  <a:pt x="399" y="566"/>
                  <a:pt x="429" y="566"/>
                </a:cubicBezTo>
                <a:cubicBezTo>
                  <a:pt x="460" y="566"/>
                  <a:pt x="490" y="573"/>
                  <a:pt x="515" y="537"/>
                </a:cubicBezTo>
                <a:lnTo>
                  <a:pt x="752" y="537"/>
                </a:lnTo>
                <a:close/>
                <a:moveTo>
                  <a:pt x="71" y="573"/>
                </a:moveTo>
                <a:lnTo>
                  <a:pt x="71" y="107"/>
                </a:lnTo>
                <a:lnTo>
                  <a:pt x="0" y="107"/>
                </a:lnTo>
                <a:lnTo>
                  <a:pt x="0" y="644"/>
                </a:lnTo>
                <a:lnTo>
                  <a:pt x="394" y="644"/>
                </a:lnTo>
                <a:lnTo>
                  <a:pt x="322" y="573"/>
                </a:lnTo>
                <a:lnTo>
                  <a:pt x="71" y="5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0"/>
          <p:cNvSpPr>
            <a:spLocks noEditPoints="1"/>
          </p:cNvSpPr>
          <p:nvPr/>
        </p:nvSpPr>
        <p:spPr bwMode="auto">
          <a:xfrm>
            <a:off x="11601728" y="1744503"/>
            <a:ext cx="360248" cy="301287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8" name="Freeform 41"/>
          <p:cNvSpPr>
            <a:spLocks/>
          </p:cNvSpPr>
          <p:nvPr/>
        </p:nvSpPr>
        <p:spPr bwMode="auto">
          <a:xfrm>
            <a:off x="11600809" y="4756459"/>
            <a:ext cx="362085" cy="315984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69" name="Группа 68"/>
          <p:cNvGrpSpPr/>
          <p:nvPr/>
        </p:nvGrpSpPr>
        <p:grpSpPr>
          <a:xfrm>
            <a:off x="11614594" y="200960"/>
            <a:ext cx="334516" cy="361915"/>
            <a:chOff x="477468" y="2705515"/>
            <a:chExt cx="409903" cy="443477"/>
          </a:xfrm>
        </p:grpSpPr>
        <p:sp>
          <p:nvSpPr>
            <p:cNvPr id="70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1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72" name="Freeform 44"/>
          <p:cNvSpPr>
            <a:spLocks noEditPoints="1"/>
          </p:cNvSpPr>
          <p:nvPr/>
        </p:nvSpPr>
        <p:spPr bwMode="auto">
          <a:xfrm>
            <a:off x="11606322" y="5464056"/>
            <a:ext cx="351059" cy="380284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3" name="Freeform 45"/>
          <p:cNvSpPr>
            <a:spLocks noEditPoints="1"/>
          </p:cNvSpPr>
          <p:nvPr/>
        </p:nvSpPr>
        <p:spPr bwMode="auto">
          <a:xfrm>
            <a:off x="11601728" y="966788"/>
            <a:ext cx="360248" cy="347216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89" name="Freeform 46"/>
          <p:cNvSpPr>
            <a:spLocks noEditPoints="1"/>
          </p:cNvSpPr>
          <p:nvPr/>
        </p:nvSpPr>
        <p:spPr bwMode="auto">
          <a:xfrm>
            <a:off x="11655949" y="3977824"/>
            <a:ext cx="251807" cy="363751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5" name="Freeform 52"/>
          <p:cNvSpPr>
            <a:spLocks noEditPoints="1"/>
          </p:cNvSpPr>
          <p:nvPr/>
        </p:nvSpPr>
        <p:spPr bwMode="auto">
          <a:xfrm>
            <a:off x="11605404" y="3223075"/>
            <a:ext cx="352896" cy="36375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Freeform 53"/>
          <p:cNvSpPr>
            <a:spLocks noEditPoints="1"/>
          </p:cNvSpPr>
          <p:nvPr/>
        </p:nvSpPr>
        <p:spPr bwMode="auto">
          <a:xfrm>
            <a:off x="11594376" y="6260448"/>
            <a:ext cx="374952" cy="327005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115" name="AutoShape 4"/>
          <p:cNvSpPr>
            <a:spLocks noChangeAspect="1" noChangeArrowheads="1" noTextEdit="1"/>
          </p:cNvSpPr>
          <p:nvPr/>
        </p:nvSpPr>
        <p:spPr bwMode="auto">
          <a:xfrm>
            <a:off x="5844301" y="1808388"/>
            <a:ext cx="918665" cy="317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1773718" y="151091"/>
            <a:ext cx="104254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002060"/>
                </a:solidFill>
              </a:rPr>
              <a:t>ЛИНИЯ УМК В.П. МАКСАКОВСКИЙ 10-11 КЛАССЫ  (базовый уровень) </a:t>
            </a:r>
          </a:p>
        </p:txBody>
      </p: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39" name="Группа 38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0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57" name="Прямоугольник 56"/>
          <p:cNvSpPr/>
          <p:nvPr/>
        </p:nvSpPr>
        <p:spPr>
          <a:xfrm>
            <a:off x="4123513" y="1826696"/>
            <a:ext cx="5725823" cy="258532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ru-RU" dirty="0"/>
              <a:t>   </a:t>
            </a:r>
            <a:r>
              <a:rPr lang="ru-RU" b="1" i="1" dirty="0"/>
              <a:t>Ключевые преимущества учебнико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качество, доказанное временем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акцент на формирование умений анализировать процессы и явления, происходящие в мире, самостоятельно </a:t>
            </a:r>
            <a:r>
              <a:rPr lang="ru-RU" sz="1600" dirty="0"/>
              <a:t>получать</a:t>
            </a:r>
            <a:r>
              <a:rPr lang="ru-RU" dirty="0"/>
              <a:t> необходимую информацию и работать с ней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задания, направленные на решение проблемных и творческих задач</a:t>
            </a:r>
          </a:p>
        </p:txBody>
      </p:sp>
      <p:sp>
        <p:nvSpPr>
          <p:cNvPr id="58" name="Подзаголовок 3"/>
          <p:cNvSpPr txBox="1">
            <a:spLocks/>
          </p:cNvSpPr>
          <p:nvPr/>
        </p:nvSpPr>
        <p:spPr>
          <a:xfrm>
            <a:off x="240697" y="5118799"/>
            <a:ext cx="2132381" cy="1451081"/>
          </a:xfrm>
          <a:prstGeom prst="rect">
            <a:avLst/>
          </a:prstGeom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b="1" dirty="0">
                <a:latin typeface="Calibri" panose="020F0502020204030204" pitchFamily="34" charset="0"/>
                <a:cs typeface="Calibri" panose="020F0502020204030204" pitchFamily="34" charset="0"/>
              </a:rPr>
              <a:t>Состав УМК:</a:t>
            </a:r>
          </a:p>
          <a:p>
            <a:pPr marL="171450" lvl="0" indent="-1714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методическое пособие            </a:t>
            </a:r>
          </a:p>
          <a:p>
            <a:pPr marL="180975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рабочая программа</a:t>
            </a:r>
          </a:p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ЭФУ</a:t>
            </a:r>
          </a:p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0" name="Подзаголовок 3"/>
          <p:cNvSpPr txBox="1">
            <a:spLocks/>
          </p:cNvSpPr>
          <p:nvPr/>
        </p:nvSpPr>
        <p:spPr>
          <a:xfrm>
            <a:off x="2373078" y="5426445"/>
            <a:ext cx="2132381" cy="870390"/>
          </a:xfrm>
          <a:prstGeom prst="rect">
            <a:avLst/>
          </a:prstGeom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рабочая тетрадь</a:t>
            </a:r>
          </a:p>
          <a:p>
            <a:pPr marL="180975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атлас</a:t>
            </a:r>
          </a:p>
          <a:p>
            <a:pPr marL="180975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контурные карты</a:t>
            </a:r>
          </a:p>
          <a:p>
            <a:pPr lvl="0">
              <a:buClr>
                <a:srgbClr val="2D3494"/>
              </a:buClr>
            </a:pPr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1" name="Picture 7" descr="Изображение География. 10-11 классы. Базовый уровень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8015" y="1760942"/>
            <a:ext cx="2074047" cy="2802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object 39"/>
          <p:cNvSpPr txBox="1"/>
          <p:nvPr/>
        </p:nvSpPr>
        <p:spPr>
          <a:xfrm>
            <a:off x="1133656" y="4704793"/>
            <a:ext cx="1538944" cy="185948"/>
          </a:xfrm>
          <a:prstGeom prst="rect">
            <a:avLst/>
          </a:prstGeom>
          <a:solidFill>
            <a:srgbClr val="2C3493"/>
          </a:solidFill>
        </p:spPr>
        <p:txBody>
          <a:bodyPr vert="horz" wrap="square" lIns="0" tIns="1270" rIns="0" bIns="0" rtlCol="0">
            <a:spAutoFit/>
          </a:bodyPr>
          <a:lstStyle/>
          <a:p>
            <a:pPr marL="199390">
              <a:lnSpc>
                <a:spcPct val="100000"/>
              </a:lnSpc>
              <a:spcBef>
                <a:spcPts val="5"/>
              </a:spcBef>
            </a:pPr>
            <a:r>
              <a:rPr sz="1050" b="1" spc="-5" dirty="0">
                <a:solidFill>
                  <a:srgbClr val="FFFFFF"/>
                </a:solidFill>
                <a:latin typeface="Carlito"/>
                <a:cs typeface="Carlito"/>
              </a:rPr>
              <a:t>ФП №</a:t>
            </a:r>
            <a:r>
              <a:rPr sz="1050" b="1" spc="210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lang="ru-RU" sz="1200" b="1" spc="-10" dirty="0">
                <a:solidFill>
                  <a:srgbClr val="FFFFFF"/>
                </a:solidFill>
                <a:latin typeface="Carlito"/>
                <a:cs typeface="Carlito"/>
              </a:rPr>
              <a:t>1.1.3.3.2.7.1</a:t>
            </a:r>
            <a:endParaRPr sz="1200" dirty="0">
              <a:latin typeface="Carlito"/>
              <a:cs typeface="Carlito"/>
            </a:endParaRPr>
          </a:p>
        </p:txBody>
      </p:sp>
      <p:cxnSp>
        <p:nvCxnSpPr>
          <p:cNvPr id="86" name="Прямая соединительная линия 85"/>
          <p:cNvCxnSpPr/>
          <p:nvPr/>
        </p:nvCxnSpPr>
        <p:spPr>
          <a:xfrm>
            <a:off x="1504085" y="641211"/>
            <a:ext cx="9871584" cy="13837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425467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54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xmlns="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11375669" y="2257824"/>
            <a:ext cx="812363" cy="754751"/>
          </a:xfrm>
          <a:prstGeom prst="rect">
            <a:avLst/>
          </a:prstGeom>
          <a:solidFill>
            <a:srgbClr val="40D4E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3"/>
          <p:cNvSpPr>
            <a:spLocks noChangeArrowheads="1"/>
          </p:cNvSpPr>
          <p:nvPr/>
        </p:nvSpPr>
        <p:spPr bwMode="auto">
          <a:xfrm>
            <a:off x="11375669" y="5276823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4"/>
          <p:cNvSpPr>
            <a:spLocks noChangeArrowheads="1"/>
          </p:cNvSpPr>
          <p:nvPr/>
        </p:nvSpPr>
        <p:spPr bwMode="auto">
          <a:xfrm>
            <a:off x="11376586" y="4522072"/>
            <a:ext cx="812363" cy="754751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17"/>
          <p:cNvSpPr>
            <a:spLocks noChangeArrowheads="1"/>
          </p:cNvSpPr>
          <p:nvPr/>
        </p:nvSpPr>
        <p:spPr bwMode="auto">
          <a:xfrm>
            <a:off x="11375670" y="-4589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19"/>
          <p:cNvSpPr>
            <a:spLocks noChangeArrowheads="1"/>
          </p:cNvSpPr>
          <p:nvPr/>
        </p:nvSpPr>
        <p:spPr bwMode="auto">
          <a:xfrm>
            <a:off x="11376586" y="3012572"/>
            <a:ext cx="812363" cy="754751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1"/>
          <p:cNvSpPr>
            <a:spLocks noChangeArrowheads="1"/>
          </p:cNvSpPr>
          <p:nvPr/>
        </p:nvSpPr>
        <p:spPr bwMode="auto">
          <a:xfrm>
            <a:off x="11376586" y="6031572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2"/>
          <p:cNvSpPr>
            <a:spLocks noChangeArrowheads="1"/>
          </p:cNvSpPr>
          <p:nvPr/>
        </p:nvSpPr>
        <p:spPr bwMode="auto">
          <a:xfrm>
            <a:off x="11375670" y="1502768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2" name="Rectangle 25"/>
          <p:cNvSpPr>
            <a:spLocks noChangeArrowheads="1"/>
          </p:cNvSpPr>
          <p:nvPr/>
        </p:nvSpPr>
        <p:spPr bwMode="auto">
          <a:xfrm>
            <a:off x="11376586" y="3767322"/>
            <a:ext cx="812363" cy="754751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29"/>
          <p:cNvSpPr>
            <a:spLocks noChangeArrowheads="1"/>
          </p:cNvSpPr>
          <p:nvPr/>
        </p:nvSpPr>
        <p:spPr bwMode="auto">
          <a:xfrm>
            <a:off x="11375670" y="748019"/>
            <a:ext cx="812363" cy="754751"/>
          </a:xfrm>
          <a:prstGeom prst="rect">
            <a:avLst/>
          </a:prstGeom>
          <a:solidFill>
            <a:srgbClr val="9ED44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2"/>
          <p:cNvSpPr>
            <a:spLocks noEditPoints="1"/>
          </p:cNvSpPr>
          <p:nvPr/>
        </p:nvSpPr>
        <p:spPr bwMode="auto">
          <a:xfrm>
            <a:off x="11600809" y="2514255"/>
            <a:ext cx="362085" cy="271895"/>
          </a:xfrm>
          <a:custGeom>
            <a:avLst/>
            <a:gdLst>
              <a:gd name="T0" fmla="*/ 787 w 859"/>
              <a:gd name="T1" fmla="*/ 107 h 644"/>
              <a:gd name="T2" fmla="*/ 787 w 859"/>
              <a:gd name="T3" fmla="*/ 573 h 644"/>
              <a:gd name="T4" fmla="*/ 537 w 859"/>
              <a:gd name="T5" fmla="*/ 573 h 644"/>
              <a:gd name="T6" fmla="*/ 465 w 859"/>
              <a:gd name="T7" fmla="*/ 644 h 644"/>
              <a:gd name="T8" fmla="*/ 859 w 859"/>
              <a:gd name="T9" fmla="*/ 644 h 644"/>
              <a:gd name="T10" fmla="*/ 859 w 859"/>
              <a:gd name="T11" fmla="*/ 107 h 644"/>
              <a:gd name="T12" fmla="*/ 787 w 859"/>
              <a:gd name="T13" fmla="*/ 107 h 644"/>
              <a:gd name="T14" fmla="*/ 476 w 859"/>
              <a:gd name="T15" fmla="*/ 476 h 644"/>
              <a:gd name="T16" fmla="*/ 383 w 859"/>
              <a:gd name="T17" fmla="*/ 476 h 644"/>
              <a:gd name="T18" fmla="*/ 373 w 859"/>
              <a:gd name="T19" fmla="*/ 465 h 644"/>
              <a:gd name="T20" fmla="*/ 179 w 859"/>
              <a:gd name="T21" fmla="*/ 465 h 644"/>
              <a:gd name="T22" fmla="*/ 179 w 859"/>
              <a:gd name="T23" fmla="*/ 71 h 644"/>
              <a:gd name="T24" fmla="*/ 344 w 859"/>
              <a:gd name="T25" fmla="*/ 71 h 644"/>
              <a:gd name="T26" fmla="*/ 393 w 859"/>
              <a:gd name="T27" fmla="*/ 96 h 644"/>
              <a:gd name="T28" fmla="*/ 393 w 859"/>
              <a:gd name="T29" fmla="*/ 358 h 644"/>
              <a:gd name="T30" fmla="*/ 465 w 859"/>
              <a:gd name="T31" fmla="*/ 358 h 644"/>
              <a:gd name="T32" fmla="*/ 465 w 859"/>
              <a:gd name="T33" fmla="*/ 96 h 644"/>
              <a:gd name="T34" fmla="*/ 515 w 859"/>
              <a:gd name="T35" fmla="*/ 71 h 644"/>
              <a:gd name="T36" fmla="*/ 680 w 859"/>
              <a:gd name="T37" fmla="*/ 71 h 644"/>
              <a:gd name="T38" fmla="*/ 680 w 859"/>
              <a:gd name="T39" fmla="*/ 465 h 644"/>
              <a:gd name="T40" fmla="*/ 486 w 859"/>
              <a:gd name="T41" fmla="*/ 465 h 644"/>
              <a:gd name="T42" fmla="*/ 476 w 859"/>
              <a:gd name="T43" fmla="*/ 476 h 644"/>
              <a:gd name="T44" fmla="*/ 752 w 859"/>
              <a:gd name="T45" fmla="*/ 537 h 644"/>
              <a:gd name="T46" fmla="*/ 752 w 859"/>
              <a:gd name="T47" fmla="*/ 0 h 644"/>
              <a:gd name="T48" fmla="*/ 486 w 859"/>
              <a:gd name="T49" fmla="*/ 0 h 644"/>
              <a:gd name="T50" fmla="*/ 476 w 859"/>
              <a:gd name="T51" fmla="*/ 10 h 644"/>
              <a:gd name="T52" fmla="*/ 383 w 859"/>
              <a:gd name="T53" fmla="*/ 10 h 644"/>
              <a:gd name="T54" fmla="*/ 373 w 859"/>
              <a:gd name="T55" fmla="*/ 0 h 644"/>
              <a:gd name="T56" fmla="*/ 107 w 859"/>
              <a:gd name="T57" fmla="*/ 0 h 644"/>
              <a:gd name="T58" fmla="*/ 107 w 859"/>
              <a:gd name="T59" fmla="*/ 537 h 644"/>
              <a:gd name="T60" fmla="*/ 344 w 859"/>
              <a:gd name="T61" fmla="*/ 537 h 644"/>
              <a:gd name="T62" fmla="*/ 429 w 859"/>
              <a:gd name="T63" fmla="*/ 566 h 644"/>
              <a:gd name="T64" fmla="*/ 515 w 859"/>
              <a:gd name="T65" fmla="*/ 537 h 644"/>
              <a:gd name="T66" fmla="*/ 752 w 859"/>
              <a:gd name="T67" fmla="*/ 537 h 644"/>
              <a:gd name="T68" fmla="*/ 71 w 859"/>
              <a:gd name="T69" fmla="*/ 573 h 644"/>
              <a:gd name="T70" fmla="*/ 71 w 859"/>
              <a:gd name="T71" fmla="*/ 107 h 644"/>
              <a:gd name="T72" fmla="*/ 0 w 859"/>
              <a:gd name="T73" fmla="*/ 107 h 644"/>
              <a:gd name="T74" fmla="*/ 0 w 859"/>
              <a:gd name="T75" fmla="*/ 644 h 644"/>
              <a:gd name="T76" fmla="*/ 394 w 859"/>
              <a:gd name="T77" fmla="*/ 644 h 644"/>
              <a:gd name="T78" fmla="*/ 322 w 859"/>
              <a:gd name="T79" fmla="*/ 573 h 644"/>
              <a:gd name="T80" fmla="*/ 71 w 859"/>
              <a:gd name="T81" fmla="*/ 573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9" h="644">
                <a:moveTo>
                  <a:pt x="787" y="107"/>
                </a:moveTo>
                <a:lnTo>
                  <a:pt x="787" y="573"/>
                </a:lnTo>
                <a:lnTo>
                  <a:pt x="537" y="573"/>
                </a:lnTo>
                <a:lnTo>
                  <a:pt x="465" y="644"/>
                </a:lnTo>
                <a:lnTo>
                  <a:pt x="859" y="644"/>
                </a:lnTo>
                <a:lnTo>
                  <a:pt x="859" y="107"/>
                </a:lnTo>
                <a:lnTo>
                  <a:pt x="787" y="107"/>
                </a:lnTo>
                <a:close/>
                <a:moveTo>
                  <a:pt x="476" y="476"/>
                </a:moveTo>
                <a:cubicBezTo>
                  <a:pt x="450" y="501"/>
                  <a:pt x="409" y="501"/>
                  <a:pt x="383" y="476"/>
                </a:cubicBezTo>
                <a:lnTo>
                  <a:pt x="373" y="465"/>
                </a:lnTo>
                <a:lnTo>
                  <a:pt x="179" y="465"/>
                </a:lnTo>
                <a:lnTo>
                  <a:pt x="179" y="71"/>
                </a:lnTo>
                <a:lnTo>
                  <a:pt x="344" y="71"/>
                </a:lnTo>
                <a:cubicBezTo>
                  <a:pt x="359" y="71"/>
                  <a:pt x="393" y="91"/>
                  <a:pt x="393" y="96"/>
                </a:cubicBezTo>
                <a:lnTo>
                  <a:pt x="393" y="358"/>
                </a:lnTo>
                <a:lnTo>
                  <a:pt x="465" y="358"/>
                </a:lnTo>
                <a:lnTo>
                  <a:pt x="465" y="96"/>
                </a:lnTo>
                <a:cubicBezTo>
                  <a:pt x="465" y="91"/>
                  <a:pt x="500" y="71"/>
                  <a:pt x="515" y="71"/>
                </a:cubicBezTo>
                <a:lnTo>
                  <a:pt x="680" y="71"/>
                </a:lnTo>
                <a:lnTo>
                  <a:pt x="680" y="465"/>
                </a:lnTo>
                <a:lnTo>
                  <a:pt x="486" y="465"/>
                </a:lnTo>
                <a:lnTo>
                  <a:pt x="476" y="476"/>
                </a:lnTo>
                <a:close/>
                <a:moveTo>
                  <a:pt x="752" y="537"/>
                </a:moveTo>
                <a:lnTo>
                  <a:pt x="752" y="0"/>
                </a:lnTo>
                <a:lnTo>
                  <a:pt x="486" y="0"/>
                </a:lnTo>
                <a:lnTo>
                  <a:pt x="476" y="10"/>
                </a:lnTo>
                <a:cubicBezTo>
                  <a:pt x="450" y="36"/>
                  <a:pt x="409" y="36"/>
                  <a:pt x="383" y="10"/>
                </a:cubicBezTo>
                <a:lnTo>
                  <a:pt x="373" y="0"/>
                </a:lnTo>
                <a:lnTo>
                  <a:pt x="107" y="0"/>
                </a:lnTo>
                <a:lnTo>
                  <a:pt x="107" y="537"/>
                </a:lnTo>
                <a:lnTo>
                  <a:pt x="344" y="537"/>
                </a:lnTo>
                <a:cubicBezTo>
                  <a:pt x="369" y="573"/>
                  <a:pt x="399" y="566"/>
                  <a:pt x="429" y="566"/>
                </a:cubicBezTo>
                <a:cubicBezTo>
                  <a:pt x="460" y="566"/>
                  <a:pt x="490" y="573"/>
                  <a:pt x="515" y="537"/>
                </a:cubicBezTo>
                <a:lnTo>
                  <a:pt x="752" y="537"/>
                </a:lnTo>
                <a:close/>
                <a:moveTo>
                  <a:pt x="71" y="573"/>
                </a:moveTo>
                <a:lnTo>
                  <a:pt x="71" y="107"/>
                </a:lnTo>
                <a:lnTo>
                  <a:pt x="0" y="107"/>
                </a:lnTo>
                <a:lnTo>
                  <a:pt x="0" y="644"/>
                </a:lnTo>
                <a:lnTo>
                  <a:pt x="394" y="644"/>
                </a:lnTo>
                <a:lnTo>
                  <a:pt x="322" y="573"/>
                </a:lnTo>
                <a:lnTo>
                  <a:pt x="71" y="5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0"/>
          <p:cNvSpPr>
            <a:spLocks noEditPoints="1"/>
          </p:cNvSpPr>
          <p:nvPr/>
        </p:nvSpPr>
        <p:spPr bwMode="auto">
          <a:xfrm>
            <a:off x="11601728" y="1744503"/>
            <a:ext cx="360248" cy="301287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8" name="Freeform 41"/>
          <p:cNvSpPr>
            <a:spLocks/>
          </p:cNvSpPr>
          <p:nvPr/>
        </p:nvSpPr>
        <p:spPr bwMode="auto">
          <a:xfrm>
            <a:off x="11600809" y="4756459"/>
            <a:ext cx="362085" cy="315984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69" name="Группа 68"/>
          <p:cNvGrpSpPr/>
          <p:nvPr/>
        </p:nvGrpSpPr>
        <p:grpSpPr>
          <a:xfrm>
            <a:off x="11614594" y="200960"/>
            <a:ext cx="334516" cy="361915"/>
            <a:chOff x="477468" y="2705515"/>
            <a:chExt cx="409903" cy="443477"/>
          </a:xfrm>
        </p:grpSpPr>
        <p:sp>
          <p:nvSpPr>
            <p:cNvPr id="70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1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72" name="Freeform 44"/>
          <p:cNvSpPr>
            <a:spLocks noEditPoints="1"/>
          </p:cNvSpPr>
          <p:nvPr/>
        </p:nvSpPr>
        <p:spPr bwMode="auto">
          <a:xfrm>
            <a:off x="11606322" y="5464056"/>
            <a:ext cx="351059" cy="380284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3" name="Freeform 45"/>
          <p:cNvSpPr>
            <a:spLocks noEditPoints="1"/>
          </p:cNvSpPr>
          <p:nvPr/>
        </p:nvSpPr>
        <p:spPr bwMode="auto">
          <a:xfrm>
            <a:off x="11601728" y="966788"/>
            <a:ext cx="360248" cy="347216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89" name="Freeform 46"/>
          <p:cNvSpPr>
            <a:spLocks noEditPoints="1"/>
          </p:cNvSpPr>
          <p:nvPr/>
        </p:nvSpPr>
        <p:spPr bwMode="auto">
          <a:xfrm>
            <a:off x="11655949" y="3977824"/>
            <a:ext cx="251807" cy="363751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5" name="Freeform 52"/>
          <p:cNvSpPr>
            <a:spLocks noEditPoints="1"/>
          </p:cNvSpPr>
          <p:nvPr/>
        </p:nvSpPr>
        <p:spPr bwMode="auto">
          <a:xfrm>
            <a:off x="11605404" y="3223075"/>
            <a:ext cx="352896" cy="36375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Freeform 53"/>
          <p:cNvSpPr>
            <a:spLocks noEditPoints="1"/>
          </p:cNvSpPr>
          <p:nvPr/>
        </p:nvSpPr>
        <p:spPr bwMode="auto">
          <a:xfrm>
            <a:off x="11594376" y="6260448"/>
            <a:ext cx="374952" cy="327005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115" name="AutoShape 4"/>
          <p:cNvSpPr>
            <a:spLocks noChangeAspect="1" noChangeArrowheads="1" noTextEdit="1"/>
          </p:cNvSpPr>
          <p:nvPr/>
        </p:nvSpPr>
        <p:spPr bwMode="auto">
          <a:xfrm>
            <a:off x="5844301" y="1808388"/>
            <a:ext cx="918665" cy="317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79" name="Группа 78"/>
          <p:cNvGrpSpPr/>
          <p:nvPr/>
        </p:nvGrpSpPr>
        <p:grpSpPr>
          <a:xfrm>
            <a:off x="0" y="23883"/>
            <a:ext cx="1326338" cy="438775"/>
            <a:chOff x="254665" y="195486"/>
            <a:chExt cx="951720" cy="329081"/>
          </a:xfrm>
        </p:grpSpPr>
        <p:sp>
          <p:nvSpPr>
            <p:cNvPr id="80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3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4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5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6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7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8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0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1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2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3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4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494785"/>
            <a:ext cx="4421068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5" name="Рисунок 4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469582" y="1474355"/>
            <a:ext cx="1499460" cy="2102807"/>
          </a:xfrm>
          <a:prstGeom prst="rect">
            <a:avLst/>
          </a:prstGeom>
        </p:spPr>
      </p:pic>
      <p:sp>
        <p:nvSpPr>
          <p:cNvPr id="47" name="object 52"/>
          <p:cNvSpPr/>
          <p:nvPr/>
        </p:nvSpPr>
        <p:spPr>
          <a:xfrm>
            <a:off x="8469582" y="6380874"/>
            <a:ext cx="192024" cy="242075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3"/>
          <p:cNvSpPr/>
          <p:nvPr/>
        </p:nvSpPr>
        <p:spPr>
          <a:xfrm>
            <a:off x="8364425" y="6290959"/>
            <a:ext cx="414655" cy="424420"/>
          </a:xfrm>
          <a:custGeom>
            <a:avLst/>
            <a:gdLst/>
            <a:ahLst/>
            <a:cxnLst/>
            <a:rect l="l" t="t" r="r" b="b"/>
            <a:pathLst>
              <a:path w="414654" h="411479">
                <a:moveTo>
                  <a:pt x="227838" y="0"/>
                </a:moveTo>
                <a:lnTo>
                  <a:pt x="183769" y="0"/>
                </a:lnTo>
                <a:lnTo>
                  <a:pt x="166116" y="2920"/>
                </a:lnTo>
                <a:lnTo>
                  <a:pt x="126365" y="14604"/>
                </a:lnTo>
                <a:lnTo>
                  <a:pt x="89662" y="33654"/>
                </a:lnTo>
                <a:lnTo>
                  <a:pt x="60325" y="60070"/>
                </a:lnTo>
                <a:lnTo>
                  <a:pt x="33782" y="89280"/>
                </a:lnTo>
                <a:lnTo>
                  <a:pt x="25019" y="106933"/>
                </a:lnTo>
                <a:lnTo>
                  <a:pt x="14732" y="124459"/>
                </a:lnTo>
                <a:lnTo>
                  <a:pt x="8763" y="143509"/>
                </a:lnTo>
                <a:lnTo>
                  <a:pt x="4445" y="162559"/>
                </a:lnTo>
                <a:lnTo>
                  <a:pt x="0" y="183006"/>
                </a:lnTo>
                <a:lnTo>
                  <a:pt x="0" y="226948"/>
                </a:lnTo>
                <a:lnTo>
                  <a:pt x="4445" y="247522"/>
                </a:lnTo>
                <a:lnTo>
                  <a:pt x="8763" y="265048"/>
                </a:lnTo>
                <a:lnTo>
                  <a:pt x="14732" y="284098"/>
                </a:lnTo>
                <a:lnTo>
                  <a:pt x="25019" y="303148"/>
                </a:lnTo>
                <a:lnTo>
                  <a:pt x="33782" y="320674"/>
                </a:lnTo>
                <a:lnTo>
                  <a:pt x="46990" y="336803"/>
                </a:lnTo>
                <a:lnTo>
                  <a:pt x="60325" y="349973"/>
                </a:lnTo>
                <a:lnTo>
                  <a:pt x="74930" y="364616"/>
                </a:lnTo>
                <a:lnTo>
                  <a:pt x="89662" y="376339"/>
                </a:lnTo>
                <a:lnTo>
                  <a:pt x="107315" y="385127"/>
                </a:lnTo>
                <a:lnTo>
                  <a:pt x="126365" y="395376"/>
                </a:lnTo>
                <a:lnTo>
                  <a:pt x="145542" y="402691"/>
                </a:lnTo>
                <a:lnTo>
                  <a:pt x="166116" y="408546"/>
                </a:lnTo>
                <a:lnTo>
                  <a:pt x="183769" y="410019"/>
                </a:lnTo>
                <a:lnTo>
                  <a:pt x="207264" y="411479"/>
                </a:lnTo>
                <a:lnTo>
                  <a:pt x="248412" y="408546"/>
                </a:lnTo>
                <a:lnTo>
                  <a:pt x="267589" y="402691"/>
                </a:lnTo>
                <a:lnTo>
                  <a:pt x="288163" y="395376"/>
                </a:lnTo>
                <a:lnTo>
                  <a:pt x="304292" y="385127"/>
                </a:lnTo>
                <a:lnTo>
                  <a:pt x="310184" y="382193"/>
                </a:lnTo>
                <a:lnTo>
                  <a:pt x="188214" y="382193"/>
                </a:lnTo>
                <a:lnTo>
                  <a:pt x="170561" y="377799"/>
                </a:lnTo>
                <a:lnTo>
                  <a:pt x="154305" y="374865"/>
                </a:lnTo>
                <a:lnTo>
                  <a:pt x="136651" y="369011"/>
                </a:lnTo>
                <a:lnTo>
                  <a:pt x="122047" y="361695"/>
                </a:lnTo>
                <a:lnTo>
                  <a:pt x="107315" y="351447"/>
                </a:lnTo>
                <a:lnTo>
                  <a:pt x="94107" y="342658"/>
                </a:lnTo>
                <a:lnTo>
                  <a:pt x="58800" y="303148"/>
                </a:lnTo>
                <a:lnTo>
                  <a:pt x="35306" y="257682"/>
                </a:lnTo>
                <a:lnTo>
                  <a:pt x="27940" y="204977"/>
                </a:lnTo>
                <a:lnTo>
                  <a:pt x="29337" y="187451"/>
                </a:lnTo>
                <a:lnTo>
                  <a:pt x="32385" y="169925"/>
                </a:lnTo>
                <a:lnTo>
                  <a:pt x="35306" y="153796"/>
                </a:lnTo>
                <a:lnTo>
                  <a:pt x="42672" y="136143"/>
                </a:lnTo>
                <a:lnTo>
                  <a:pt x="51435" y="121538"/>
                </a:lnTo>
                <a:lnTo>
                  <a:pt x="58800" y="106933"/>
                </a:lnTo>
                <a:lnTo>
                  <a:pt x="107315" y="57149"/>
                </a:lnTo>
                <a:lnTo>
                  <a:pt x="154305" y="35178"/>
                </a:lnTo>
                <a:lnTo>
                  <a:pt x="207264" y="27812"/>
                </a:lnTo>
                <a:lnTo>
                  <a:pt x="311919" y="27812"/>
                </a:lnTo>
                <a:lnTo>
                  <a:pt x="304292" y="23367"/>
                </a:lnTo>
                <a:lnTo>
                  <a:pt x="288163" y="14604"/>
                </a:lnTo>
                <a:lnTo>
                  <a:pt x="267589" y="7365"/>
                </a:lnTo>
                <a:lnTo>
                  <a:pt x="248412" y="2920"/>
                </a:lnTo>
                <a:lnTo>
                  <a:pt x="227838" y="0"/>
                </a:lnTo>
                <a:close/>
              </a:path>
              <a:path w="414654" h="411479">
                <a:moveTo>
                  <a:pt x="311919" y="27812"/>
                </a:moveTo>
                <a:lnTo>
                  <a:pt x="207264" y="27812"/>
                </a:lnTo>
                <a:lnTo>
                  <a:pt x="223393" y="29336"/>
                </a:lnTo>
                <a:lnTo>
                  <a:pt x="242570" y="30733"/>
                </a:lnTo>
                <a:lnTo>
                  <a:pt x="260223" y="35178"/>
                </a:lnTo>
                <a:lnTo>
                  <a:pt x="274827" y="42417"/>
                </a:lnTo>
                <a:lnTo>
                  <a:pt x="291084" y="49783"/>
                </a:lnTo>
                <a:lnTo>
                  <a:pt x="304292" y="57149"/>
                </a:lnTo>
                <a:lnTo>
                  <a:pt x="320421" y="68833"/>
                </a:lnTo>
                <a:lnTo>
                  <a:pt x="330708" y="80517"/>
                </a:lnTo>
                <a:lnTo>
                  <a:pt x="343916" y="93725"/>
                </a:lnTo>
                <a:lnTo>
                  <a:pt x="370459" y="136143"/>
                </a:lnTo>
                <a:lnTo>
                  <a:pt x="379222" y="169925"/>
                </a:lnTo>
                <a:lnTo>
                  <a:pt x="383667" y="187451"/>
                </a:lnTo>
                <a:lnTo>
                  <a:pt x="383667" y="222630"/>
                </a:lnTo>
                <a:lnTo>
                  <a:pt x="379222" y="241553"/>
                </a:lnTo>
                <a:lnTo>
                  <a:pt x="376300" y="257682"/>
                </a:lnTo>
                <a:lnTo>
                  <a:pt x="354202" y="303148"/>
                </a:lnTo>
                <a:lnTo>
                  <a:pt x="330708" y="329476"/>
                </a:lnTo>
                <a:lnTo>
                  <a:pt x="320421" y="342658"/>
                </a:lnTo>
                <a:lnTo>
                  <a:pt x="304292" y="351447"/>
                </a:lnTo>
                <a:lnTo>
                  <a:pt x="291084" y="361695"/>
                </a:lnTo>
                <a:lnTo>
                  <a:pt x="274827" y="369011"/>
                </a:lnTo>
                <a:lnTo>
                  <a:pt x="260223" y="374865"/>
                </a:lnTo>
                <a:lnTo>
                  <a:pt x="242570" y="377799"/>
                </a:lnTo>
                <a:lnTo>
                  <a:pt x="223393" y="382193"/>
                </a:lnTo>
                <a:lnTo>
                  <a:pt x="310184" y="382193"/>
                </a:lnTo>
                <a:lnTo>
                  <a:pt x="321945" y="376339"/>
                </a:lnTo>
                <a:lnTo>
                  <a:pt x="338074" y="364616"/>
                </a:lnTo>
                <a:lnTo>
                  <a:pt x="354202" y="349973"/>
                </a:lnTo>
                <a:lnTo>
                  <a:pt x="367538" y="336803"/>
                </a:lnTo>
                <a:lnTo>
                  <a:pt x="377825" y="320674"/>
                </a:lnTo>
                <a:lnTo>
                  <a:pt x="389509" y="303148"/>
                </a:lnTo>
                <a:lnTo>
                  <a:pt x="404241" y="265048"/>
                </a:lnTo>
                <a:lnTo>
                  <a:pt x="410083" y="247522"/>
                </a:lnTo>
                <a:lnTo>
                  <a:pt x="411607" y="226948"/>
                </a:lnTo>
                <a:lnTo>
                  <a:pt x="414527" y="204977"/>
                </a:lnTo>
                <a:lnTo>
                  <a:pt x="411607" y="183006"/>
                </a:lnTo>
                <a:lnTo>
                  <a:pt x="410083" y="162559"/>
                </a:lnTo>
                <a:lnTo>
                  <a:pt x="404241" y="143509"/>
                </a:lnTo>
                <a:lnTo>
                  <a:pt x="389509" y="106933"/>
                </a:lnTo>
                <a:lnTo>
                  <a:pt x="367538" y="74675"/>
                </a:lnTo>
                <a:lnTo>
                  <a:pt x="321945" y="33654"/>
                </a:lnTo>
                <a:lnTo>
                  <a:pt x="311919" y="27812"/>
                </a:lnTo>
                <a:close/>
              </a:path>
            </a:pathLst>
          </a:custGeom>
          <a:solidFill>
            <a:srgbClr val="2E36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Прямоугольник 50"/>
          <p:cNvSpPr/>
          <p:nvPr/>
        </p:nvSpPr>
        <p:spPr>
          <a:xfrm>
            <a:off x="785579" y="641383"/>
            <a:ext cx="261962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/>
              <a:t>Атласы и контурные карты </a:t>
            </a:r>
          </a:p>
        </p:txBody>
      </p:sp>
      <p:pic>
        <p:nvPicPr>
          <p:cNvPr id="53" name="Рисунок 5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82584" y="1015173"/>
            <a:ext cx="1720628" cy="2358342"/>
          </a:xfrm>
          <a:prstGeom prst="rect">
            <a:avLst/>
          </a:prstGeom>
        </p:spPr>
      </p:pic>
      <p:sp>
        <p:nvSpPr>
          <p:cNvPr id="54" name="Прямоугольник 53"/>
          <p:cNvSpPr/>
          <p:nvPr/>
        </p:nvSpPr>
        <p:spPr>
          <a:xfrm>
            <a:off x="8674824" y="6222429"/>
            <a:ext cx="1753942" cy="47448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ru-RU" sz="1200" dirty="0">
                <a:solidFill>
                  <a:srgbClr val="171717"/>
                </a:solidFill>
                <a:latin typeface="Carlito"/>
                <a:cs typeface="Carlito"/>
              </a:rPr>
              <a:t>в электронной форме</a:t>
            </a:r>
          </a:p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ru-RU" sz="1200" dirty="0">
                <a:solidFill>
                  <a:srgbClr val="171717"/>
                </a:solidFill>
                <a:latin typeface="Carlito"/>
                <a:cs typeface="Carlito"/>
              </a:rPr>
              <a:t> на сайте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8252207" y="687549"/>
            <a:ext cx="1577355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buClr>
                <a:srgbClr val="2D3494"/>
              </a:buClr>
            </a:pPr>
            <a:r>
              <a:rPr lang="ru-RU" sz="1600" b="1" dirty="0">
                <a:latin typeface="Calibri" panose="020F0502020204030204" pitchFamily="34" charset="0"/>
                <a:cs typeface="Calibri" panose="020F0502020204030204" pitchFamily="34" charset="0"/>
              </a:rPr>
              <a:t>Методические</a:t>
            </a:r>
          </a:p>
          <a:p>
            <a:pPr lvl="0">
              <a:buClr>
                <a:srgbClr val="2D3494"/>
              </a:buClr>
            </a:pPr>
            <a:r>
              <a:rPr lang="ru-RU" sz="1600" b="1" dirty="0">
                <a:latin typeface="Calibri" panose="020F0502020204030204" pitchFamily="34" charset="0"/>
                <a:cs typeface="Calibri" panose="020F0502020204030204" pitchFamily="34" charset="0"/>
              </a:rPr>
              <a:t> рекомендации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8364425" y="3708607"/>
            <a:ext cx="231629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2D3494"/>
              </a:buClr>
            </a:pPr>
            <a:r>
              <a:rPr lang="ru-RU" sz="1600" b="1" dirty="0">
                <a:latin typeface="Calibri" panose="020F0502020204030204" pitchFamily="34" charset="0"/>
                <a:cs typeface="Calibri" panose="020F0502020204030204" pitchFamily="34" charset="0"/>
              </a:rPr>
              <a:t>Рабочая программа</a:t>
            </a:r>
          </a:p>
        </p:txBody>
      </p:sp>
      <p:pic>
        <p:nvPicPr>
          <p:cNvPr id="58" name="Picture 2" descr="http://qrcoder.ru/code/?https%3A%2F%2Fshop.prosv.ru%2Fkatalog%23%2Forderby%3D5%26sFilters%3D8%212497%2C2503%2C2505%2C2508%3B6%212359%3B&amp;10&amp;0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3593" y="2267697"/>
            <a:ext cx="2573856" cy="25738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0" name="Прямоугольник 59"/>
          <p:cNvSpPr/>
          <p:nvPr/>
        </p:nvSpPr>
        <p:spPr>
          <a:xfrm>
            <a:off x="1052929" y="3754879"/>
            <a:ext cx="263379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77165" marR="723265">
              <a:lnSpc>
                <a:spcPct val="100000"/>
              </a:lnSpc>
              <a:spcBef>
                <a:spcPts val="710"/>
              </a:spcBef>
            </a:pPr>
            <a:r>
              <a:rPr lang="ru-RU" sz="1400" b="1" dirty="0">
                <a:solidFill>
                  <a:srgbClr val="171717"/>
                </a:solidFill>
                <a:latin typeface="Carlito"/>
                <a:cs typeface="Carlito"/>
              </a:rPr>
              <a:t>Ра</a:t>
            </a:r>
            <a:r>
              <a:rPr lang="ru-RU" sz="1400" b="1" spc="-5" dirty="0">
                <a:solidFill>
                  <a:srgbClr val="171717"/>
                </a:solidFill>
                <a:latin typeface="Carlito"/>
                <a:cs typeface="Carlito"/>
              </a:rPr>
              <a:t>бо</a:t>
            </a:r>
            <a:r>
              <a:rPr lang="ru-RU" sz="1400" b="1" dirty="0">
                <a:solidFill>
                  <a:srgbClr val="171717"/>
                </a:solidFill>
                <a:latin typeface="Carlito"/>
                <a:cs typeface="Carlito"/>
              </a:rPr>
              <a:t>чая  </a:t>
            </a:r>
            <a:r>
              <a:rPr lang="ru-RU" sz="1400" b="1" spc="-5" dirty="0">
                <a:solidFill>
                  <a:srgbClr val="171717"/>
                </a:solidFill>
                <a:latin typeface="Carlito"/>
                <a:cs typeface="Carlito"/>
              </a:rPr>
              <a:t>тетрадь</a:t>
            </a:r>
            <a:endParaRPr lang="ru-RU" sz="1400" b="1" dirty="0">
              <a:latin typeface="Carlito"/>
              <a:cs typeface="Carlito"/>
            </a:endParaRPr>
          </a:p>
        </p:txBody>
      </p:sp>
      <p:pic>
        <p:nvPicPr>
          <p:cNvPr id="61" name="Рисунок 60">
            <a:extLst>
              <a:ext uri="{FF2B5EF4-FFF2-40B4-BE49-F238E27FC236}">
                <a16:creationId xmlns:a16="http://schemas.microsoft.com/office/drawing/2014/main" xmlns="" id="{06C2C489-38E1-BB48-A651-15C065EC0713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98298" y="4161574"/>
            <a:ext cx="1513346" cy="202048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62" name="Рисунок 61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432003" y="4112846"/>
            <a:ext cx="1449157" cy="2005655"/>
          </a:xfrm>
          <a:prstGeom prst="rect">
            <a:avLst/>
          </a:prstGeom>
        </p:spPr>
      </p:pic>
      <p:pic>
        <p:nvPicPr>
          <p:cNvPr id="63" name="Рисунок 62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521127" y="1003490"/>
            <a:ext cx="1768160" cy="2355795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1344657" y="38852"/>
            <a:ext cx="1003075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>
                <a:solidFill>
                  <a:srgbClr val="002060"/>
                </a:solidFill>
              </a:rPr>
              <a:t>КОМПОНЕНТЫ УМК В.П. МАКСАКОВСКИЙ 10-11 КЛАССЫ  </a:t>
            </a:r>
            <a:r>
              <a:rPr lang="ru-RU" sz="2000" b="1" dirty="0">
                <a:solidFill>
                  <a:srgbClr val="002060"/>
                </a:solidFill>
              </a:rPr>
              <a:t>(базовый уровень) </a:t>
            </a: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384624" y="499135"/>
            <a:ext cx="9990792" cy="40678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92013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94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xmlns="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11375669" y="2257824"/>
            <a:ext cx="812363" cy="754751"/>
          </a:xfrm>
          <a:prstGeom prst="rect">
            <a:avLst/>
          </a:prstGeom>
          <a:solidFill>
            <a:srgbClr val="40D4E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3"/>
          <p:cNvSpPr>
            <a:spLocks noChangeArrowheads="1"/>
          </p:cNvSpPr>
          <p:nvPr/>
        </p:nvSpPr>
        <p:spPr bwMode="auto">
          <a:xfrm>
            <a:off x="11375669" y="5276823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4"/>
          <p:cNvSpPr>
            <a:spLocks noChangeArrowheads="1"/>
          </p:cNvSpPr>
          <p:nvPr/>
        </p:nvSpPr>
        <p:spPr bwMode="auto">
          <a:xfrm>
            <a:off x="11376586" y="4522072"/>
            <a:ext cx="812363" cy="754751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17"/>
          <p:cNvSpPr>
            <a:spLocks noChangeArrowheads="1"/>
          </p:cNvSpPr>
          <p:nvPr/>
        </p:nvSpPr>
        <p:spPr bwMode="auto">
          <a:xfrm>
            <a:off x="11375670" y="-4589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19"/>
          <p:cNvSpPr>
            <a:spLocks noChangeArrowheads="1"/>
          </p:cNvSpPr>
          <p:nvPr/>
        </p:nvSpPr>
        <p:spPr bwMode="auto">
          <a:xfrm>
            <a:off x="11376586" y="3012572"/>
            <a:ext cx="812363" cy="754751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1"/>
          <p:cNvSpPr>
            <a:spLocks noChangeArrowheads="1"/>
          </p:cNvSpPr>
          <p:nvPr/>
        </p:nvSpPr>
        <p:spPr bwMode="auto">
          <a:xfrm>
            <a:off x="11376586" y="6031572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2"/>
          <p:cNvSpPr>
            <a:spLocks noChangeArrowheads="1"/>
          </p:cNvSpPr>
          <p:nvPr/>
        </p:nvSpPr>
        <p:spPr bwMode="auto">
          <a:xfrm>
            <a:off x="11375670" y="1502768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2" name="Rectangle 25"/>
          <p:cNvSpPr>
            <a:spLocks noChangeArrowheads="1"/>
          </p:cNvSpPr>
          <p:nvPr/>
        </p:nvSpPr>
        <p:spPr bwMode="auto">
          <a:xfrm>
            <a:off x="11376586" y="3767322"/>
            <a:ext cx="812363" cy="754751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29"/>
          <p:cNvSpPr>
            <a:spLocks noChangeArrowheads="1"/>
          </p:cNvSpPr>
          <p:nvPr/>
        </p:nvSpPr>
        <p:spPr bwMode="auto">
          <a:xfrm>
            <a:off x="11375670" y="748019"/>
            <a:ext cx="812363" cy="754751"/>
          </a:xfrm>
          <a:prstGeom prst="rect">
            <a:avLst/>
          </a:prstGeom>
          <a:solidFill>
            <a:srgbClr val="9ED44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2"/>
          <p:cNvSpPr>
            <a:spLocks noEditPoints="1"/>
          </p:cNvSpPr>
          <p:nvPr/>
        </p:nvSpPr>
        <p:spPr bwMode="auto">
          <a:xfrm>
            <a:off x="11600809" y="2514255"/>
            <a:ext cx="362085" cy="271895"/>
          </a:xfrm>
          <a:custGeom>
            <a:avLst/>
            <a:gdLst>
              <a:gd name="T0" fmla="*/ 787 w 859"/>
              <a:gd name="T1" fmla="*/ 107 h 644"/>
              <a:gd name="T2" fmla="*/ 787 w 859"/>
              <a:gd name="T3" fmla="*/ 573 h 644"/>
              <a:gd name="T4" fmla="*/ 537 w 859"/>
              <a:gd name="T5" fmla="*/ 573 h 644"/>
              <a:gd name="T6" fmla="*/ 465 w 859"/>
              <a:gd name="T7" fmla="*/ 644 h 644"/>
              <a:gd name="T8" fmla="*/ 859 w 859"/>
              <a:gd name="T9" fmla="*/ 644 h 644"/>
              <a:gd name="T10" fmla="*/ 859 w 859"/>
              <a:gd name="T11" fmla="*/ 107 h 644"/>
              <a:gd name="T12" fmla="*/ 787 w 859"/>
              <a:gd name="T13" fmla="*/ 107 h 644"/>
              <a:gd name="T14" fmla="*/ 476 w 859"/>
              <a:gd name="T15" fmla="*/ 476 h 644"/>
              <a:gd name="T16" fmla="*/ 383 w 859"/>
              <a:gd name="T17" fmla="*/ 476 h 644"/>
              <a:gd name="T18" fmla="*/ 373 w 859"/>
              <a:gd name="T19" fmla="*/ 465 h 644"/>
              <a:gd name="T20" fmla="*/ 179 w 859"/>
              <a:gd name="T21" fmla="*/ 465 h 644"/>
              <a:gd name="T22" fmla="*/ 179 w 859"/>
              <a:gd name="T23" fmla="*/ 71 h 644"/>
              <a:gd name="T24" fmla="*/ 344 w 859"/>
              <a:gd name="T25" fmla="*/ 71 h 644"/>
              <a:gd name="T26" fmla="*/ 393 w 859"/>
              <a:gd name="T27" fmla="*/ 96 h 644"/>
              <a:gd name="T28" fmla="*/ 393 w 859"/>
              <a:gd name="T29" fmla="*/ 358 h 644"/>
              <a:gd name="T30" fmla="*/ 465 w 859"/>
              <a:gd name="T31" fmla="*/ 358 h 644"/>
              <a:gd name="T32" fmla="*/ 465 w 859"/>
              <a:gd name="T33" fmla="*/ 96 h 644"/>
              <a:gd name="T34" fmla="*/ 515 w 859"/>
              <a:gd name="T35" fmla="*/ 71 h 644"/>
              <a:gd name="T36" fmla="*/ 680 w 859"/>
              <a:gd name="T37" fmla="*/ 71 h 644"/>
              <a:gd name="T38" fmla="*/ 680 w 859"/>
              <a:gd name="T39" fmla="*/ 465 h 644"/>
              <a:gd name="T40" fmla="*/ 486 w 859"/>
              <a:gd name="T41" fmla="*/ 465 h 644"/>
              <a:gd name="T42" fmla="*/ 476 w 859"/>
              <a:gd name="T43" fmla="*/ 476 h 644"/>
              <a:gd name="T44" fmla="*/ 752 w 859"/>
              <a:gd name="T45" fmla="*/ 537 h 644"/>
              <a:gd name="T46" fmla="*/ 752 w 859"/>
              <a:gd name="T47" fmla="*/ 0 h 644"/>
              <a:gd name="T48" fmla="*/ 486 w 859"/>
              <a:gd name="T49" fmla="*/ 0 h 644"/>
              <a:gd name="T50" fmla="*/ 476 w 859"/>
              <a:gd name="T51" fmla="*/ 10 h 644"/>
              <a:gd name="T52" fmla="*/ 383 w 859"/>
              <a:gd name="T53" fmla="*/ 10 h 644"/>
              <a:gd name="T54" fmla="*/ 373 w 859"/>
              <a:gd name="T55" fmla="*/ 0 h 644"/>
              <a:gd name="T56" fmla="*/ 107 w 859"/>
              <a:gd name="T57" fmla="*/ 0 h 644"/>
              <a:gd name="T58" fmla="*/ 107 w 859"/>
              <a:gd name="T59" fmla="*/ 537 h 644"/>
              <a:gd name="T60" fmla="*/ 344 w 859"/>
              <a:gd name="T61" fmla="*/ 537 h 644"/>
              <a:gd name="T62" fmla="*/ 429 w 859"/>
              <a:gd name="T63" fmla="*/ 566 h 644"/>
              <a:gd name="T64" fmla="*/ 515 w 859"/>
              <a:gd name="T65" fmla="*/ 537 h 644"/>
              <a:gd name="T66" fmla="*/ 752 w 859"/>
              <a:gd name="T67" fmla="*/ 537 h 644"/>
              <a:gd name="T68" fmla="*/ 71 w 859"/>
              <a:gd name="T69" fmla="*/ 573 h 644"/>
              <a:gd name="T70" fmla="*/ 71 w 859"/>
              <a:gd name="T71" fmla="*/ 107 h 644"/>
              <a:gd name="T72" fmla="*/ 0 w 859"/>
              <a:gd name="T73" fmla="*/ 107 h 644"/>
              <a:gd name="T74" fmla="*/ 0 w 859"/>
              <a:gd name="T75" fmla="*/ 644 h 644"/>
              <a:gd name="T76" fmla="*/ 394 w 859"/>
              <a:gd name="T77" fmla="*/ 644 h 644"/>
              <a:gd name="T78" fmla="*/ 322 w 859"/>
              <a:gd name="T79" fmla="*/ 573 h 644"/>
              <a:gd name="T80" fmla="*/ 71 w 859"/>
              <a:gd name="T81" fmla="*/ 573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9" h="644">
                <a:moveTo>
                  <a:pt x="787" y="107"/>
                </a:moveTo>
                <a:lnTo>
                  <a:pt x="787" y="573"/>
                </a:lnTo>
                <a:lnTo>
                  <a:pt x="537" y="573"/>
                </a:lnTo>
                <a:lnTo>
                  <a:pt x="465" y="644"/>
                </a:lnTo>
                <a:lnTo>
                  <a:pt x="859" y="644"/>
                </a:lnTo>
                <a:lnTo>
                  <a:pt x="859" y="107"/>
                </a:lnTo>
                <a:lnTo>
                  <a:pt x="787" y="107"/>
                </a:lnTo>
                <a:close/>
                <a:moveTo>
                  <a:pt x="476" y="476"/>
                </a:moveTo>
                <a:cubicBezTo>
                  <a:pt x="450" y="501"/>
                  <a:pt x="409" y="501"/>
                  <a:pt x="383" y="476"/>
                </a:cubicBezTo>
                <a:lnTo>
                  <a:pt x="373" y="465"/>
                </a:lnTo>
                <a:lnTo>
                  <a:pt x="179" y="465"/>
                </a:lnTo>
                <a:lnTo>
                  <a:pt x="179" y="71"/>
                </a:lnTo>
                <a:lnTo>
                  <a:pt x="344" y="71"/>
                </a:lnTo>
                <a:cubicBezTo>
                  <a:pt x="359" y="71"/>
                  <a:pt x="393" y="91"/>
                  <a:pt x="393" y="96"/>
                </a:cubicBezTo>
                <a:lnTo>
                  <a:pt x="393" y="358"/>
                </a:lnTo>
                <a:lnTo>
                  <a:pt x="465" y="358"/>
                </a:lnTo>
                <a:lnTo>
                  <a:pt x="465" y="96"/>
                </a:lnTo>
                <a:cubicBezTo>
                  <a:pt x="465" y="91"/>
                  <a:pt x="500" y="71"/>
                  <a:pt x="515" y="71"/>
                </a:cubicBezTo>
                <a:lnTo>
                  <a:pt x="680" y="71"/>
                </a:lnTo>
                <a:lnTo>
                  <a:pt x="680" y="465"/>
                </a:lnTo>
                <a:lnTo>
                  <a:pt x="486" y="465"/>
                </a:lnTo>
                <a:lnTo>
                  <a:pt x="476" y="476"/>
                </a:lnTo>
                <a:close/>
                <a:moveTo>
                  <a:pt x="752" y="537"/>
                </a:moveTo>
                <a:lnTo>
                  <a:pt x="752" y="0"/>
                </a:lnTo>
                <a:lnTo>
                  <a:pt x="486" y="0"/>
                </a:lnTo>
                <a:lnTo>
                  <a:pt x="476" y="10"/>
                </a:lnTo>
                <a:cubicBezTo>
                  <a:pt x="450" y="36"/>
                  <a:pt x="409" y="36"/>
                  <a:pt x="383" y="10"/>
                </a:cubicBezTo>
                <a:lnTo>
                  <a:pt x="373" y="0"/>
                </a:lnTo>
                <a:lnTo>
                  <a:pt x="107" y="0"/>
                </a:lnTo>
                <a:lnTo>
                  <a:pt x="107" y="537"/>
                </a:lnTo>
                <a:lnTo>
                  <a:pt x="344" y="537"/>
                </a:lnTo>
                <a:cubicBezTo>
                  <a:pt x="369" y="573"/>
                  <a:pt x="399" y="566"/>
                  <a:pt x="429" y="566"/>
                </a:cubicBezTo>
                <a:cubicBezTo>
                  <a:pt x="460" y="566"/>
                  <a:pt x="490" y="573"/>
                  <a:pt x="515" y="537"/>
                </a:cubicBezTo>
                <a:lnTo>
                  <a:pt x="752" y="537"/>
                </a:lnTo>
                <a:close/>
                <a:moveTo>
                  <a:pt x="71" y="573"/>
                </a:moveTo>
                <a:lnTo>
                  <a:pt x="71" y="107"/>
                </a:lnTo>
                <a:lnTo>
                  <a:pt x="0" y="107"/>
                </a:lnTo>
                <a:lnTo>
                  <a:pt x="0" y="644"/>
                </a:lnTo>
                <a:lnTo>
                  <a:pt x="394" y="644"/>
                </a:lnTo>
                <a:lnTo>
                  <a:pt x="322" y="573"/>
                </a:lnTo>
                <a:lnTo>
                  <a:pt x="71" y="5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0"/>
          <p:cNvSpPr>
            <a:spLocks noEditPoints="1"/>
          </p:cNvSpPr>
          <p:nvPr/>
        </p:nvSpPr>
        <p:spPr bwMode="auto">
          <a:xfrm>
            <a:off x="11601728" y="1744503"/>
            <a:ext cx="360248" cy="301287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8" name="Freeform 41"/>
          <p:cNvSpPr>
            <a:spLocks/>
          </p:cNvSpPr>
          <p:nvPr/>
        </p:nvSpPr>
        <p:spPr bwMode="auto">
          <a:xfrm>
            <a:off x="11600809" y="4756459"/>
            <a:ext cx="362085" cy="315984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69" name="Группа 68"/>
          <p:cNvGrpSpPr/>
          <p:nvPr/>
        </p:nvGrpSpPr>
        <p:grpSpPr>
          <a:xfrm>
            <a:off x="11614594" y="200960"/>
            <a:ext cx="334516" cy="361915"/>
            <a:chOff x="477468" y="2705515"/>
            <a:chExt cx="409903" cy="443477"/>
          </a:xfrm>
        </p:grpSpPr>
        <p:sp>
          <p:nvSpPr>
            <p:cNvPr id="70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1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72" name="Freeform 44"/>
          <p:cNvSpPr>
            <a:spLocks noEditPoints="1"/>
          </p:cNvSpPr>
          <p:nvPr/>
        </p:nvSpPr>
        <p:spPr bwMode="auto">
          <a:xfrm>
            <a:off x="11606322" y="5464056"/>
            <a:ext cx="351059" cy="380284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3" name="Freeform 45"/>
          <p:cNvSpPr>
            <a:spLocks noEditPoints="1"/>
          </p:cNvSpPr>
          <p:nvPr/>
        </p:nvSpPr>
        <p:spPr bwMode="auto">
          <a:xfrm>
            <a:off x="11601728" y="966788"/>
            <a:ext cx="360248" cy="347216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89" name="Freeform 46"/>
          <p:cNvSpPr>
            <a:spLocks noEditPoints="1"/>
          </p:cNvSpPr>
          <p:nvPr/>
        </p:nvSpPr>
        <p:spPr bwMode="auto">
          <a:xfrm>
            <a:off x="11655949" y="3977824"/>
            <a:ext cx="251807" cy="363751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5" name="Freeform 52"/>
          <p:cNvSpPr>
            <a:spLocks noEditPoints="1"/>
          </p:cNvSpPr>
          <p:nvPr/>
        </p:nvSpPr>
        <p:spPr bwMode="auto">
          <a:xfrm>
            <a:off x="11605404" y="3223075"/>
            <a:ext cx="352896" cy="36375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Freeform 53"/>
          <p:cNvSpPr>
            <a:spLocks noEditPoints="1"/>
          </p:cNvSpPr>
          <p:nvPr/>
        </p:nvSpPr>
        <p:spPr bwMode="auto">
          <a:xfrm>
            <a:off x="11594376" y="6260448"/>
            <a:ext cx="374952" cy="327005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115" name="AutoShape 4"/>
          <p:cNvSpPr>
            <a:spLocks noChangeAspect="1" noChangeArrowheads="1" noTextEdit="1"/>
          </p:cNvSpPr>
          <p:nvPr/>
        </p:nvSpPr>
        <p:spPr bwMode="auto">
          <a:xfrm>
            <a:off x="5844301" y="1808388"/>
            <a:ext cx="918665" cy="317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79" name="Группа 78"/>
          <p:cNvGrpSpPr/>
          <p:nvPr/>
        </p:nvGrpSpPr>
        <p:grpSpPr>
          <a:xfrm>
            <a:off x="93743" y="140545"/>
            <a:ext cx="1268960" cy="438775"/>
            <a:chOff x="254665" y="195486"/>
            <a:chExt cx="951720" cy="329081"/>
          </a:xfrm>
        </p:grpSpPr>
        <p:sp>
          <p:nvSpPr>
            <p:cNvPr id="80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3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4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5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6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7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8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0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1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2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3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4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3422260" y="1140396"/>
            <a:ext cx="5830104" cy="206210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ru-RU" sz="1600" b="1" i="1" dirty="0"/>
              <a:t>      Ключевые преимущества учебнико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/>
              <a:t>главной особенностью является </a:t>
            </a:r>
            <a:r>
              <a:rPr lang="ru-RU" sz="1600" i="1" dirty="0"/>
              <a:t>историко-географический</a:t>
            </a:r>
            <a:r>
              <a:rPr lang="ru-RU" sz="1600" dirty="0"/>
              <a:t> подход в изучении регионов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/>
              <a:t>научность и практическая значимость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/>
              <a:t>обеспечение живого интереса к предмету (межпредметные связи с историей, обществознанием, экономикой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600" dirty="0"/>
          </a:p>
        </p:txBody>
      </p:sp>
      <p:pic>
        <p:nvPicPr>
          <p:cNvPr id="84996" name="Picture 4" descr="География. Базовый уровень. 10-11 классы. Учебник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398" y="933152"/>
            <a:ext cx="2282042" cy="2947637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5" name="TextBox 54"/>
          <p:cNvSpPr txBox="1"/>
          <p:nvPr/>
        </p:nvSpPr>
        <p:spPr>
          <a:xfrm>
            <a:off x="1487937" y="94622"/>
            <a:ext cx="102520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002060"/>
                </a:solidFill>
              </a:rPr>
              <a:t>ЛИНИЯ УМК А.П. КУЗНЕЦОВА, Э.В. КИМ . 10-11 КЛАССЫ </a:t>
            </a:r>
            <a:r>
              <a:rPr lang="ru-RU" sz="2000" b="1" spc="-5" dirty="0">
                <a:solidFill>
                  <a:srgbClr val="002060"/>
                </a:solidFill>
                <a:cs typeface="Carlito"/>
              </a:rPr>
              <a:t>(базовый</a:t>
            </a:r>
            <a:r>
              <a:rPr lang="ru-RU" sz="2000" b="1" spc="15" dirty="0">
                <a:solidFill>
                  <a:srgbClr val="002060"/>
                </a:solidFill>
                <a:cs typeface="Carlito"/>
              </a:rPr>
              <a:t> </a:t>
            </a:r>
            <a:r>
              <a:rPr lang="ru-RU" sz="2000" b="1" spc="-5" dirty="0">
                <a:solidFill>
                  <a:srgbClr val="002060"/>
                </a:solidFill>
                <a:cs typeface="Carlito"/>
              </a:rPr>
              <a:t>уровень)</a:t>
            </a:r>
            <a:endParaRPr lang="ru-RU" sz="2000" b="1" dirty="0">
              <a:solidFill>
                <a:srgbClr val="002060"/>
              </a:solidFill>
              <a:cs typeface="Carlito"/>
            </a:endParaRPr>
          </a:p>
        </p:txBody>
      </p:sp>
      <p:sp>
        <p:nvSpPr>
          <p:cNvPr id="63" name="object 29"/>
          <p:cNvSpPr txBox="1"/>
          <p:nvPr/>
        </p:nvSpPr>
        <p:spPr>
          <a:xfrm>
            <a:off x="538087" y="4055939"/>
            <a:ext cx="1779669" cy="162865"/>
          </a:xfrm>
          <a:prstGeom prst="rect">
            <a:avLst/>
          </a:prstGeom>
          <a:solidFill>
            <a:srgbClr val="2C3493"/>
          </a:solidFill>
        </p:spPr>
        <p:txBody>
          <a:bodyPr vert="horz" wrap="square" lIns="0" tIns="1270" rIns="0" bIns="0" rtlCol="0">
            <a:spAutoFit/>
          </a:bodyPr>
          <a:lstStyle/>
          <a:p>
            <a:pPr marL="255904">
              <a:lnSpc>
                <a:spcPct val="100000"/>
              </a:lnSpc>
              <a:spcBef>
                <a:spcPts val="5"/>
              </a:spcBef>
            </a:pPr>
            <a:r>
              <a:rPr sz="1050" b="1" spc="-5" dirty="0">
                <a:solidFill>
                  <a:srgbClr val="FFFFFF"/>
                </a:solidFill>
                <a:latin typeface="Carlito"/>
                <a:cs typeface="Carlito"/>
              </a:rPr>
              <a:t>ФП</a:t>
            </a:r>
            <a:r>
              <a:rPr sz="1050" b="1" spc="-15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1050" b="1" spc="-10" dirty="0">
                <a:solidFill>
                  <a:srgbClr val="FFFFFF"/>
                </a:solidFill>
                <a:latin typeface="Carlito"/>
                <a:cs typeface="Carlito"/>
              </a:rPr>
              <a:t>№</a:t>
            </a:r>
            <a:r>
              <a:rPr lang="ru-RU" sz="1050" b="1" spc="-10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1050" b="1" spc="-10" dirty="0">
                <a:solidFill>
                  <a:srgbClr val="FFFFFF"/>
                </a:solidFill>
                <a:latin typeface="Carlito"/>
                <a:cs typeface="Carlito"/>
              </a:rPr>
              <a:t>1.</a:t>
            </a:r>
            <a:r>
              <a:rPr lang="ru-RU" sz="1050" b="1" spc="-10" dirty="0">
                <a:solidFill>
                  <a:srgbClr val="FFFFFF"/>
                </a:solidFill>
                <a:latin typeface="Carlito"/>
                <a:cs typeface="Carlito"/>
              </a:rPr>
              <a:t>1</a:t>
            </a:r>
            <a:r>
              <a:rPr sz="1050" b="1" spc="-10" dirty="0">
                <a:solidFill>
                  <a:srgbClr val="FFFFFF"/>
                </a:solidFill>
                <a:latin typeface="Carlito"/>
                <a:cs typeface="Carlito"/>
              </a:rPr>
              <a:t>.3.3.</a:t>
            </a:r>
            <a:r>
              <a:rPr lang="ru-RU" sz="1050" b="1" spc="-10" dirty="0">
                <a:solidFill>
                  <a:srgbClr val="FFFFFF"/>
                </a:solidFill>
                <a:latin typeface="Carlito"/>
                <a:cs typeface="Carlito"/>
              </a:rPr>
              <a:t>2.</a:t>
            </a:r>
            <a:r>
              <a:rPr sz="1050" b="1" spc="-10" dirty="0">
                <a:solidFill>
                  <a:srgbClr val="FFFFFF"/>
                </a:solidFill>
                <a:latin typeface="Carlito"/>
                <a:cs typeface="Carlito"/>
              </a:rPr>
              <a:t>4.1</a:t>
            </a:r>
            <a:endParaRPr sz="1050" dirty="0">
              <a:latin typeface="Carlito"/>
              <a:cs typeface="Carlito"/>
            </a:endParaRPr>
          </a:p>
        </p:txBody>
      </p:sp>
      <p:cxnSp>
        <p:nvCxnSpPr>
          <p:cNvPr id="78" name="Прямая соединительная линия 77"/>
          <p:cNvCxnSpPr/>
          <p:nvPr/>
        </p:nvCxnSpPr>
        <p:spPr>
          <a:xfrm>
            <a:off x="1357131" y="579320"/>
            <a:ext cx="10018538" cy="4088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Подзаголовок 3"/>
          <p:cNvSpPr txBox="1">
            <a:spLocks/>
          </p:cNvSpPr>
          <p:nvPr/>
        </p:nvSpPr>
        <p:spPr>
          <a:xfrm>
            <a:off x="491424" y="4732959"/>
            <a:ext cx="2132381" cy="1451081"/>
          </a:xfrm>
          <a:prstGeom prst="rect">
            <a:avLst/>
          </a:prstGeom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b="1" dirty="0">
                <a:latin typeface="Calibri" panose="020F0502020204030204" pitchFamily="34" charset="0"/>
                <a:cs typeface="Calibri" panose="020F0502020204030204" pitchFamily="34" charset="0"/>
              </a:rPr>
              <a:t>Состав УМК:</a:t>
            </a:r>
          </a:p>
          <a:p>
            <a:pPr marL="171450" lvl="0" indent="-1714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методическое пособие            </a:t>
            </a:r>
          </a:p>
          <a:p>
            <a:pPr marL="180975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рабочая программа</a:t>
            </a:r>
          </a:p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ЭФУ</a:t>
            </a:r>
          </a:p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рабочая тетрадь</a:t>
            </a:r>
          </a:p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9" name="TextBox 98"/>
          <p:cNvSpPr txBox="1"/>
          <p:nvPr/>
        </p:nvSpPr>
        <p:spPr>
          <a:xfrm>
            <a:off x="3388581" y="3546565"/>
            <a:ext cx="5897462" cy="116955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C00000"/>
                </a:solidFill>
              </a:rPr>
              <a:t>                                                 Рекомендовано использовать </a:t>
            </a:r>
          </a:p>
          <a:p>
            <a:r>
              <a:rPr lang="ru-RU" sz="1400" b="1" dirty="0">
                <a:solidFill>
                  <a:srgbClr val="002060"/>
                </a:solidFill>
              </a:rPr>
              <a:t>Атласы и контурные карты            или            атласы и контурные карты                          </a:t>
            </a:r>
          </a:p>
          <a:p>
            <a:r>
              <a:rPr lang="ru-RU" sz="1400" b="1" dirty="0">
                <a:solidFill>
                  <a:srgbClr val="002060"/>
                </a:solidFill>
              </a:rPr>
              <a:t>   «Учись быть первым!»                                     Традиционный комплект                       </a:t>
            </a:r>
          </a:p>
          <a:p>
            <a:r>
              <a:rPr lang="ru-RU" sz="1400" b="1" dirty="0">
                <a:solidFill>
                  <a:srgbClr val="002060"/>
                </a:solidFill>
              </a:rPr>
              <a:t>                                                                                      (РГО)</a:t>
            </a:r>
          </a:p>
          <a:p>
            <a:r>
              <a:rPr lang="ru-RU" sz="1400" b="1" dirty="0">
                <a:solidFill>
                  <a:srgbClr val="002060"/>
                </a:solidFill>
              </a:rPr>
              <a:t>                                                                                 </a:t>
            </a:r>
          </a:p>
        </p:txBody>
      </p:sp>
      <p:pic>
        <p:nvPicPr>
          <p:cNvPr id="100" name="Picture 24" descr="География. 10-11 классы. Атлас (Учись быть первым!)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7038" y="4750962"/>
            <a:ext cx="1363376" cy="1806472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" name="Рисунок 10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386418" y="4218804"/>
            <a:ext cx="461442" cy="364240"/>
          </a:xfrm>
          <a:prstGeom prst="rect">
            <a:avLst/>
          </a:prstGeom>
        </p:spPr>
      </p:pic>
      <p:pic>
        <p:nvPicPr>
          <p:cNvPr id="51" name="Рисунок 50" descr="cover1__w220 (9).jpg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7160573" y="4771074"/>
            <a:ext cx="1395453" cy="184580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53443623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84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xmlns="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11375669" y="2257824"/>
            <a:ext cx="812363" cy="754751"/>
          </a:xfrm>
          <a:prstGeom prst="rect">
            <a:avLst/>
          </a:prstGeom>
          <a:solidFill>
            <a:srgbClr val="40D4E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3"/>
          <p:cNvSpPr>
            <a:spLocks noChangeArrowheads="1"/>
          </p:cNvSpPr>
          <p:nvPr/>
        </p:nvSpPr>
        <p:spPr bwMode="auto">
          <a:xfrm>
            <a:off x="11375669" y="5276823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4"/>
          <p:cNvSpPr>
            <a:spLocks noChangeArrowheads="1"/>
          </p:cNvSpPr>
          <p:nvPr/>
        </p:nvSpPr>
        <p:spPr bwMode="auto">
          <a:xfrm>
            <a:off x="11376586" y="4522072"/>
            <a:ext cx="812363" cy="754751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17"/>
          <p:cNvSpPr>
            <a:spLocks noChangeArrowheads="1"/>
          </p:cNvSpPr>
          <p:nvPr/>
        </p:nvSpPr>
        <p:spPr bwMode="auto">
          <a:xfrm>
            <a:off x="11375670" y="-4589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19"/>
          <p:cNvSpPr>
            <a:spLocks noChangeArrowheads="1"/>
          </p:cNvSpPr>
          <p:nvPr/>
        </p:nvSpPr>
        <p:spPr bwMode="auto">
          <a:xfrm>
            <a:off x="11376586" y="3012572"/>
            <a:ext cx="812363" cy="754751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1"/>
          <p:cNvSpPr>
            <a:spLocks noChangeArrowheads="1"/>
          </p:cNvSpPr>
          <p:nvPr/>
        </p:nvSpPr>
        <p:spPr bwMode="auto">
          <a:xfrm>
            <a:off x="11376586" y="6031572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2"/>
          <p:cNvSpPr>
            <a:spLocks noChangeArrowheads="1"/>
          </p:cNvSpPr>
          <p:nvPr/>
        </p:nvSpPr>
        <p:spPr bwMode="auto">
          <a:xfrm>
            <a:off x="11375670" y="1502768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2" name="Rectangle 25"/>
          <p:cNvSpPr>
            <a:spLocks noChangeArrowheads="1"/>
          </p:cNvSpPr>
          <p:nvPr/>
        </p:nvSpPr>
        <p:spPr bwMode="auto">
          <a:xfrm>
            <a:off x="11376586" y="3767322"/>
            <a:ext cx="812363" cy="754751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29"/>
          <p:cNvSpPr>
            <a:spLocks noChangeArrowheads="1"/>
          </p:cNvSpPr>
          <p:nvPr/>
        </p:nvSpPr>
        <p:spPr bwMode="auto">
          <a:xfrm>
            <a:off x="11375670" y="748019"/>
            <a:ext cx="812363" cy="754751"/>
          </a:xfrm>
          <a:prstGeom prst="rect">
            <a:avLst/>
          </a:prstGeom>
          <a:solidFill>
            <a:srgbClr val="9ED44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2"/>
          <p:cNvSpPr>
            <a:spLocks noEditPoints="1"/>
          </p:cNvSpPr>
          <p:nvPr/>
        </p:nvSpPr>
        <p:spPr bwMode="auto">
          <a:xfrm>
            <a:off x="11600809" y="2514255"/>
            <a:ext cx="362085" cy="271895"/>
          </a:xfrm>
          <a:custGeom>
            <a:avLst/>
            <a:gdLst>
              <a:gd name="T0" fmla="*/ 787 w 859"/>
              <a:gd name="T1" fmla="*/ 107 h 644"/>
              <a:gd name="T2" fmla="*/ 787 w 859"/>
              <a:gd name="T3" fmla="*/ 573 h 644"/>
              <a:gd name="T4" fmla="*/ 537 w 859"/>
              <a:gd name="T5" fmla="*/ 573 h 644"/>
              <a:gd name="T6" fmla="*/ 465 w 859"/>
              <a:gd name="T7" fmla="*/ 644 h 644"/>
              <a:gd name="T8" fmla="*/ 859 w 859"/>
              <a:gd name="T9" fmla="*/ 644 h 644"/>
              <a:gd name="T10" fmla="*/ 859 w 859"/>
              <a:gd name="T11" fmla="*/ 107 h 644"/>
              <a:gd name="T12" fmla="*/ 787 w 859"/>
              <a:gd name="T13" fmla="*/ 107 h 644"/>
              <a:gd name="T14" fmla="*/ 476 w 859"/>
              <a:gd name="T15" fmla="*/ 476 h 644"/>
              <a:gd name="T16" fmla="*/ 383 w 859"/>
              <a:gd name="T17" fmla="*/ 476 h 644"/>
              <a:gd name="T18" fmla="*/ 373 w 859"/>
              <a:gd name="T19" fmla="*/ 465 h 644"/>
              <a:gd name="T20" fmla="*/ 179 w 859"/>
              <a:gd name="T21" fmla="*/ 465 h 644"/>
              <a:gd name="T22" fmla="*/ 179 w 859"/>
              <a:gd name="T23" fmla="*/ 71 h 644"/>
              <a:gd name="T24" fmla="*/ 344 w 859"/>
              <a:gd name="T25" fmla="*/ 71 h 644"/>
              <a:gd name="T26" fmla="*/ 393 w 859"/>
              <a:gd name="T27" fmla="*/ 96 h 644"/>
              <a:gd name="T28" fmla="*/ 393 w 859"/>
              <a:gd name="T29" fmla="*/ 358 h 644"/>
              <a:gd name="T30" fmla="*/ 465 w 859"/>
              <a:gd name="T31" fmla="*/ 358 h 644"/>
              <a:gd name="T32" fmla="*/ 465 w 859"/>
              <a:gd name="T33" fmla="*/ 96 h 644"/>
              <a:gd name="T34" fmla="*/ 515 w 859"/>
              <a:gd name="T35" fmla="*/ 71 h 644"/>
              <a:gd name="T36" fmla="*/ 680 w 859"/>
              <a:gd name="T37" fmla="*/ 71 h 644"/>
              <a:gd name="T38" fmla="*/ 680 w 859"/>
              <a:gd name="T39" fmla="*/ 465 h 644"/>
              <a:gd name="T40" fmla="*/ 486 w 859"/>
              <a:gd name="T41" fmla="*/ 465 h 644"/>
              <a:gd name="T42" fmla="*/ 476 w 859"/>
              <a:gd name="T43" fmla="*/ 476 h 644"/>
              <a:gd name="T44" fmla="*/ 752 w 859"/>
              <a:gd name="T45" fmla="*/ 537 h 644"/>
              <a:gd name="T46" fmla="*/ 752 w 859"/>
              <a:gd name="T47" fmla="*/ 0 h 644"/>
              <a:gd name="T48" fmla="*/ 486 w 859"/>
              <a:gd name="T49" fmla="*/ 0 h 644"/>
              <a:gd name="T50" fmla="*/ 476 w 859"/>
              <a:gd name="T51" fmla="*/ 10 h 644"/>
              <a:gd name="T52" fmla="*/ 383 w 859"/>
              <a:gd name="T53" fmla="*/ 10 h 644"/>
              <a:gd name="T54" fmla="*/ 373 w 859"/>
              <a:gd name="T55" fmla="*/ 0 h 644"/>
              <a:gd name="T56" fmla="*/ 107 w 859"/>
              <a:gd name="T57" fmla="*/ 0 h 644"/>
              <a:gd name="T58" fmla="*/ 107 w 859"/>
              <a:gd name="T59" fmla="*/ 537 h 644"/>
              <a:gd name="T60" fmla="*/ 344 w 859"/>
              <a:gd name="T61" fmla="*/ 537 h 644"/>
              <a:gd name="T62" fmla="*/ 429 w 859"/>
              <a:gd name="T63" fmla="*/ 566 h 644"/>
              <a:gd name="T64" fmla="*/ 515 w 859"/>
              <a:gd name="T65" fmla="*/ 537 h 644"/>
              <a:gd name="T66" fmla="*/ 752 w 859"/>
              <a:gd name="T67" fmla="*/ 537 h 644"/>
              <a:gd name="T68" fmla="*/ 71 w 859"/>
              <a:gd name="T69" fmla="*/ 573 h 644"/>
              <a:gd name="T70" fmla="*/ 71 w 859"/>
              <a:gd name="T71" fmla="*/ 107 h 644"/>
              <a:gd name="T72" fmla="*/ 0 w 859"/>
              <a:gd name="T73" fmla="*/ 107 h 644"/>
              <a:gd name="T74" fmla="*/ 0 w 859"/>
              <a:gd name="T75" fmla="*/ 644 h 644"/>
              <a:gd name="T76" fmla="*/ 394 w 859"/>
              <a:gd name="T77" fmla="*/ 644 h 644"/>
              <a:gd name="T78" fmla="*/ 322 w 859"/>
              <a:gd name="T79" fmla="*/ 573 h 644"/>
              <a:gd name="T80" fmla="*/ 71 w 859"/>
              <a:gd name="T81" fmla="*/ 573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9" h="644">
                <a:moveTo>
                  <a:pt x="787" y="107"/>
                </a:moveTo>
                <a:lnTo>
                  <a:pt x="787" y="573"/>
                </a:lnTo>
                <a:lnTo>
                  <a:pt x="537" y="573"/>
                </a:lnTo>
                <a:lnTo>
                  <a:pt x="465" y="644"/>
                </a:lnTo>
                <a:lnTo>
                  <a:pt x="859" y="644"/>
                </a:lnTo>
                <a:lnTo>
                  <a:pt x="859" y="107"/>
                </a:lnTo>
                <a:lnTo>
                  <a:pt x="787" y="107"/>
                </a:lnTo>
                <a:close/>
                <a:moveTo>
                  <a:pt x="476" y="476"/>
                </a:moveTo>
                <a:cubicBezTo>
                  <a:pt x="450" y="501"/>
                  <a:pt x="409" y="501"/>
                  <a:pt x="383" y="476"/>
                </a:cubicBezTo>
                <a:lnTo>
                  <a:pt x="373" y="465"/>
                </a:lnTo>
                <a:lnTo>
                  <a:pt x="179" y="465"/>
                </a:lnTo>
                <a:lnTo>
                  <a:pt x="179" y="71"/>
                </a:lnTo>
                <a:lnTo>
                  <a:pt x="344" y="71"/>
                </a:lnTo>
                <a:cubicBezTo>
                  <a:pt x="359" y="71"/>
                  <a:pt x="393" y="91"/>
                  <a:pt x="393" y="96"/>
                </a:cubicBezTo>
                <a:lnTo>
                  <a:pt x="393" y="358"/>
                </a:lnTo>
                <a:lnTo>
                  <a:pt x="465" y="358"/>
                </a:lnTo>
                <a:lnTo>
                  <a:pt x="465" y="96"/>
                </a:lnTo>
                <a:cubicBezTo>
                  <a:pt x="465" y="91"/>
                  <a:pt x="500" y="71"/>
                  <a:pt x="515" y="71"/>
                </a:cubicBezTo>
                <a:lnTo>
                  <a:pt x="680" y="71"/>
                </a:lnTo>
                <a:lnTo>
                  <a:pt x="680" y="465"/>
                </a:lnTo>
                <a:lnTo>
                  <a:pt x="486" y="465"/>
                </a:lnTo>
                <a:lnTo>
                  <a:pt x="476" y="476"/>
                </a:lnTo>
                <a:close/>
                <a:moveTo>
                  <a:pt x="752" y="537"/>
                </a:moveTo>
                <a:lnTo>
                  <a:pt x="752" y="0"/>
                </a:lnTo>
                <a:lnTo>
                  <a:pt x="486" y="0"/>
                </a:lnTo>
                <a:lnTo>
                  <a:pt x="476" y="10"/>
                </a:lnTo>
                <a:cubicBezTo>
                  <a:pt x="450" y="36"/>
                  <a:pt x="409" y="36"/>
                  <a:pt x="383" y="10"/>
                </a:cubicBezTo>
                <a:lnTo>
                  <a:pt x="373" y="0"/>
                </a:lnTo>
                <a:lnTo>
                  <a:pt x="107" y="0"/>
                </a:lnTo>
                <a:lnTo>
                  <a:pt x="107" y="537"/>
                </a:lnTo>
                <a:lnTo>
                  <a:pt x="344" y="537"/>
                </a:lnTo>
                <a:cubicBezTo>
                  <a:pt x="369" y="573"/>
                  <a:pt x="399" y="566"/>
                  <a:pt x="429" y="566"/>
                </a:cubicBezTo>
                <a:cubicBezTo>
                  <a:pt x="460" y="566"/>
                  <a:pt x="490" y="573"/>
                  <a:pt x="515" y="537"/>
                </a:cubicBezTo>
                <a:lnTo>
                  <a:pt x="752" y="537"/>
                </a:lnTo>
                <a:close/>
                <a:moveTo>
                  <a:pt x="71" y="573"/>
                </a:moveTo>
                <a:lnTo>
                  <a:pt x="71" y="107"/>
                </a:lnTo>
                <a:lnTo>
                  <a:pt x="0" y="107"/>
                </a:lnTo>
                <a:lnTo>
                  <a:pt x="0" y="644"/>
                </a:lnTo>
                <a:lnTo>
                  <a:pt x="394" y="644"/>
                </a:lnTo>
                <a:lnTo>
                  <a:pt x="322" y="573"/>
                </a:lnTo>
                <a:lnTo>
                  <a:pt x="71" y="5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0"/>
          <p:cNvSpPr>
            <a:spLocks noEditPoints="1"/>
          </p:cNvSpPr>
          <p:nvPr/>
        </p:nvSpPr>
        <p:spPr bwMode="auto">
          <a:xfrm>
            <a:off x="11601728" y="1744503"/>
            <a:ext cx="360248" cy="301287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8" name="Freeform 41"/>
          <p:cNvSpPr>
            <a:spLocks/>
          </p:cNvSpPr>
          <p:nvPr/>
        </p:nvSpPr>
        <p:spPr bwMode="auto">
          <a:xfrm>
            <a:off x="11600809" y="4756459"/>
            <a:ext cx="362085" cy="315984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69" name="Группа 68"/>
          <p:cNvGrpSpPr/>
          <p:nvPr/>
        </p:nvGrpSpPr>
        <p:grpSpPr>
          <a:xfrm>
            <a:off x="11614594" y="200960"/>
            <a:ext cx="334516" cy="361915"/>
            <a:chOff x="477468" y="2705515"/>
            <a:chExt cx="409903" cy="443477"/>
          </a:xfrm>
        </p:grpSpPr>
        <p:sp>
          <p:nvSpPr>
            <p:cNvPr id="70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1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72" name="Freeform 44"/>
          <p:cNvSpPr>
            <a:spLocks noEditPoints="1"/>
          </p:cNvSpPr>
          <p:nvPr/>
        </p:nvSpPr>
        <p:spPr bwMode="auto">
          <a:xfrm>
            <a:off x="11606322" y="5464056"/>
            <a:ext cx="351059" cy="380284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3" name="Freeform 45"/>
          <p:cNvSpPr>
            <a:spLocks noEditPoints="1"/>
          </p:cNvSpPr>
          <p:nvPr/>
        </p:nvSpPr>
        <p:spPr bwMode="auto">
          <a:xfrm>
            <a:off x="11601728" y="966788"/>
            <a:ext cx="360248" cy="347216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89" name="Freeform 46"/>
          <p:cNvSpPr>
            <a:spLocks noEditPoints="1"/>
          </p:cNvSpPr>
          <p:nvPr/>
        </p:nvSpPr>
        <p:spPr bwMode="auto">
          <a:xfrm>
            <a:off x="11655949" y="3977824"/>
            <a:ext cx="251807" cy="363751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5" name="Freeform 52"/>
          <p:cNvSpPr>
            <a:spLocks noEditPoints="1"/>
          </p:cNvSpPr>
          <p:nvPr/>
        </p:nvSpPr>
        <p:spPr bwMode="auto">
          <a:xfrm>
            <a:off x="11605404" y="3223075"/>
            <a:ext cx="352896" cy="36375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Freeform 53"/>
          <p:cNvSpPr>
            <a:spLocks noEditPoints="1"/>
          </p:cNvSpPr>
          <p:nvPr/>
        </p:nvSpPr>
        <p:spPr bwMode="auto">
          <a:xfrm>
            <a:off x="11594376" y="6260448"/>
            <a:ext cx="374952" cy="327005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115" name="AutoShape 4"/>
          <p:cNvSpPr>
            <a:spLocks noChangeAspect="1" noChangeArrowheads="1" noTextEdit="1"/>
          </p:cNvSpPr>
          <p:nvPr/>
        </p:nvSpPr>
        <p:spPr bwMode="auto">
          <a:xfrm>
            <a:off x="4901293" y="1036836"/>
            <a:ext cx="918665" cy="317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79" name="Группа 78"/>
          <p:cNvGrpSpPr/>
          <p:nvPr/>
        </p:nvGrpSpPr>
        <p:grpSpPr>
          <a:xfrm>
            <a:off x="139904" y="263364"/>
            <a:ext cx="1323640" cy="438775"/>
            <a:chOff x="254665" y="195486"/>
            <a:chExt cx="951720" cy="329081"/>
          </a:xfrm>
        </p:grpSpPr>
        <p:sp>
          <p:nvSpPr>
            <p:cNvPr id="80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3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4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5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6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7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8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0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1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2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3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4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494785"/>
            <a:ext cx="4421068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3" name="Picture 36" descr="География. Базовый уровень. 10–11 классы. Методическое пособие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8182" y="1575907"/>
            <a:ext cx="1893059" cy="2724984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Рисунок 53"/>
          <p:cNvPicPr>
            <a:picLocks noChangeAspect="1"/>
          </p:cNvPicPr>
          <p:nvPr/>
        </p:nvPicPr>
        <p:blipFill rotWithShape="1">
          <a:blip r:embed="rId9"/>
          <a:srcRect t="1328"/>
          <a:stretch/>
        </p:blipFill>
        <p:spPr>
          <a:xfrm>
            <a:off x="7681621" y="1565818"/>
            <a:ext cx="1852157" cy="2735073"/>
          </a:xfrm>
          <a:prstGeom prst="rect">
            <a:avLst/>
          </a:prstGeom>
        </p:spPr>
      </p:pic>
      <p:sp>
        <p:nvSpPr>
          <p:cNvPr id="57" name="Прямоугольник 56"/>
          <p:cNvSpPr/>
          <p:nvPr/>
        </p:nvSpPr>
        <p:spPr>
          <a:xfrm>
            <a:off x="615908" y="986031"/>
            <a:ext cx="166083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buClr>
                <a:srgbClr val="2D3494"/>
              </a:buClr>
            </a:pPr>
            <a:r>
              <a:rPr lang="ru-RU" sz="1600" b="1" dirty="0">
                <a:latin typeface="Calibri" panose="020F0502020204030204" pitchFamily="34" charset="0"/>
                <a:cs typeface="Calibri" panose="020F0502020204030204" pitchFamily="34" charset="0"/>
              </a:rPr>
              <a:t>Рабочая тетрадь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4583099" y="1088498"/>
            <a:ext cx="254292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buClr>
                <a:srgbClr val="2D3494"/>
              </a:buClr>
            </a:pPr>
            <a:r>
              <a:rPr lang="ru-RU" sz="1600" b="1" dirty="0">
                <a:latin typeface="Calibri" panose="020F0502020204030204" pitchFamily="34" charset="0"/>
                <a:cs typeface="Calibri" panose="020F0502020204030204" pitchFamily="34" charset="0"/>
              </a:rPr>
              <a:t>Методическое пособие            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7659889" y="1044170"/>
            <a:ext cx="197361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>
                <a:srgbClr val="2D3494"/>
              </a:buClr>
            </a:pPr>
            <a:r>
              <a:rPr lang="ru-RU" sz="1600" b="1" dirty="0">
                <a:latin typeface="Calibri" panose="020F0502020204030204" pitchFamily="34" charset="0"/>
                <a:cs typeface="Calibri" panose="020F0502020204030204" pitchFamily="34" charset="0"/>
              </a:rPr>
              <a:t>Рабочая программа</a:t>
            </a:r>
          </a:p>
        </p:txBody>
      </p:sp>
      <p:sp>
        <p:nvSpPr>
          <p:cNvPr id="61" name="object 52"/>
          <p:cNvSpPr/>
          <p:nvPr/>
        </p:nvSpPr>
        <p:spPr>
          <a:xfrm>
            <a:off x="5609480" y="4890614"/>
            <a:ext cx="192024" cy="242075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r>
              <a:rPr lang="ru-RU" dirty="0"/>
              <a:t>                               </a:t>
            </a:r>
            <a:endParaRPr dirty="0"/>
          </a:p>
        </p:txBody>
      </p:sp>
      <p:sp>
        <p:nvSpPr>
          <p:cNvPr id="62" name="object 53"/>
          <p:cNvSpPr/>
          <p:nvPr/>
        </p:nvSpPr>
        <p:spPr>
          <a:xfrm>
            <a:off x="5504323" y="4800699"/>
            <a:ext cx="414655" cy="424420"/>
          </a:xfrm>
          <a:custGeom>
            <a:avLst/>
            <a:gdLst/>
            <a:ahLst/>
            <a:cxnLst/>
            <a:rect l="l" t="t" r="r" b="b"/>
            <a:pathLst>
              <a:path w="414654" h="411479">
                <a:moveTo>
                  <a:pt x="227838" y="0"/>
                </a:moveTo>
                <a:lnTo>
                  <a:pt x="183769" y="0"/>
                </a:lnTo>
                <a:lnTo>
                  <a:pt x="166116" y="2920"/>
                </a:lnTo>
                <a:lnTo>
                  <a:pt x="126365" y="14604"/>
                </a:lnTo>
                <a:lnTo>
                  <a:pt x="89662" y="33654"/>
                </a:lnTo>
                <a:lnTo>
                  <a:pt x="60325" y="60070"/>
                </a:lnTo>
                <a:lnTo>
                  <a:pt x="33782" y="89280"/>
                </a:lnTo>
                <a:lnTo>
                  <a:pt x="25019" y="106933"/>
                </a:lnTo>
                <a:lnTo>
                  <a:pt x="14732" y="124459"/>
                </a:lnTo>
                <a:lnTo>
                  <a:pt x="8763" y="143509"/>
                </a:lnTo>
                <a:lnTo>
                  <a:pt x="4445" y="162559"/>
                </a:lnTo>
                <a:lnTo>
                  <a:pt x="0" y="183006"/>
                </a:lnTo>
                <a:lnTo>
                  <a:pt x="0" y="226948"/>
                </a:lnTo>
                <a:lnTo>
                  <a:pt x="4445" y="247522"/>
                </a:lnTo>
                <a:lnTo>
                  <a:pt x="8763" y="265048"/>
                </a:lnTo>
                <a:lnTo>
                  <a:pt x="14732" y="284098"/>
                </a:lnTo>
                <a:lnTo>
                  <a:pt x="25019" y="303148"/>
                </a:lnTo>
                <a:lnTo>
                  <a:pt x="33782" y="320674"/>
                </a:lnTo>
                <a:lnTo>
                  <a:pt x="46990" y="336803"/>
                </a:lnTo>
                <a:lnTo>
                  <a:pt x="60325" y="349973"/>
                </a:lnTo>
                <a:lnTo>
                  <a:pt x="74930" y="364616"/>
                </a:lnTo>
                <a:lnTo>
                  <a:pt x="89662" y="376339"/>
                </a:lnTo>
                <a:lnTo>
                  <a:pt x="107315" y="385127"/>
                </a:lnTo>
                <a:lnTo>
                  <a:pt x="126365" y="395376"/>
                </a:lnTo>
                <a:lnTo>
                  <a:pt x="145542" y="402691"/>
                </a:lnTo>
                <a:lnTo>
                  <a:pt x="166116" y="408546"/>
                </a:lnTo>
                <a:lnTo>
                  <a:pt x="183769" y="410019"/>
                </a:lnTo>
                <a:lnTo>
                  <a:pt x="207264" y="411479"/>
                </a:lnTo>
                <a:lnTo>
                  <a:pt x="248412" y="408546"/>
                </a:lnTo>
                <a:lnTo>
                  <a:pt x="267589" y="402691"/>
                </a:lnTo>
                <a:lnTo>
                  <a:pt x="288163" y="395376"/>
                </a:lnTo>
                <a:lnTo>
                  <a:pt x="304292" y="385127"/>
                </a:lnTo>
                <a:lnTo>
                  <a:pt x="310184" y="382193"/>
                </a:lnTo>
                <a:lnTo>
                  <a:pt x="188214" y="382193"/>
                </a:lnTo>
                <a:lnTo>
                  <a:pt x="170561" y="377799"/>
                </a:lnTo>
                <a:lnTo>
                  <a:pt x="154305" y="374865"/>
                </a:lnTo>
                <a:lnTo>
                  <a:pt x="136651" y="369011"/>
                </a:lnTo>
                <a:lnTo>
                  <a:pt x="122047" y="361695"/>
                </a:lnTo>
                <a:lnTo>
                  <a:pt x="107315" y="351447"/>
                </a:lnTo>
                <a:lnTo>
                  <a:pt x="94107" y="342658"/>
                </a:lnTo>
                <a:lnTo>
                  <a:pt x="58800" y="303148"/>
                </a:lnTo>
                <a:lnTo>
                  <a:pt x="35306" y="257682"/>
                </a:lnTo>
                <a:lnTo>
                  <a:pt x="27940" y="204977"/>
                </a:lnTo>
                <a:lnTo>
                  <a:pt x="29337" y="187451"/>
                </a:lnTo>
                <a:lnTo>
                  <a:pt x="32385" y="169925"/>
                </a:lnTo>
                <a:lnTo>
                  <a:pt x="35306" y="153796"/>
                </a:lnTo>
                <a:lnTo>
                  <a:pt x="42672" y="136143"/>
                </a:lnTo>
                <a:lnTo>
                  <a:pt x="51435" y="121538"/>
                </a:lnTo>
                <a:lnTo>
                  <a:pt x="58800" y="106933"/>
                </a:lnTo>
                <a:lnTo>
                  <a:pt x="107315" y="57149"/>
                </a:lnTo>
                <a:lnTo>
                  <a:pt x="154305" y="35178"/>
                </a:lnTo>
                <a:lnTo>
                  <a:pt x="207264" y="27812"/>
                </a:lnTo>
                <a:lnTo>
                  <a:pt x="311919" y="27812"/>
                </a:lnTo>
                <a:lnTo>
                  <a:pt x="304292" y="23367"/>
                </a:lnTo>
                <a:lnTo>
                  <a:pt x="288163" y="14604"/>
                </a:lnTo>
                <a:lnTo>
                  <a:pt x="267589" y="7365"/>
                </a:lnTo>
                <a:lnTo>
                  <a:pt x="248412" y="2920"/>
                </a:lnTo>
                <a:lnTo>
                  <a:pt x="227838" y="0"/>
                </a:lnTo>
                <a:close/>
              </a:path>
              <a:path w="414654" h="411479">
                <a:moveTo>
                  <a:pt x="311919" y="27812"/>
                </a:moveTo>
                <a:lnTo>
                  <a:pt x="207264" y="27812"/>
                </a:lnTo>
                <a:lnTo>
                  <a:pt x="223393" y="29336"/>
                </a:lnTo>
                <a:lnTo>
                  <a:pt x="242570" y="30733"/>
                </a:lnTo>
                <a:lnTo>
                  <a:pt x="260223" y="35178"/>
                </a:lnTo>
                <a:lnTo>
                  <a:pt x="274827" y="42417"/>
                </a:lnTo>
                <a:lnTo>
                  <a:pt x="291084" y="49783"/>
                </a:lnTo>
                <a:lnTo>
                  <a:pt x="304292" y="57149"/>
                </a:lnTo>
                <a:lnTo>
                  <a:pt x="320421" y="68833"/>
                </a:lnTo>
                <a:lnTo>
                  <a:pt x="330708" y="80517"/>
                </a:lnTo>
                <a:lnTo>
                  <a:pt x="343916" y="93725"/>
                </a:lnTo>
                <a:lnTo>
                  <a:pt x="370459" y="136143"/>
                </a:lnTo>
                <a:lnTo>
                  <a:pt x="379222" y="169925"/>
                </a:lnTo>
                <a:lnTo>
                  <a:pt x="383667" y="187451"/>
                </a:lnTo>
                <a:lnTo>
                  <a:pt x="383667" y="222630"/>
                </a:lnTo>
                <a:lnTo>
                  <a:pt x="379222" y="241553"/>
                </a:lnTo>
                <a:lnTo>
                  <a:pt x="376300" y="257682"/>
                </a:lnTo>
                <a:lnTo>
                  <a:pt x="354202" y="303148"/>
                </a:lnTo>
                <a:lnTo>
                  <a:pt x="330708" y="329476"/>
                </a:lnTo>
                <a:lnTo>
                  <a:pt x="320421" y="342658"/>
                </a:lnTo>
                <a:lnTo>
                  <a:pt x="304292" y="351447"/>
                </a:lnTo>
                <a:lnTo>
                  <a:pt x="291084" y="361695"/>
                </a:lnTo>
                <a:lnTo>
                  <a:pt x="274827" y="369011"/>
                </a:lnTo>
                <a:lnTo>
                  <a:pt x="260223" y="374865"/>
                </a:lnTo>
                <a:lnTo>
                  <a:pt x="242570" y="377799"/>
                </a:lnTo>
                <a:lnTo>
                  <a:pt x="223393" y="382193"/>
                </a:lnTo>
                <a:lnTo>
                  <a:pt x="310184" y="382193"/>
                </a:lnTo>
                <a:lnTo>
                  <a:pt x="321945" y="376339"/>
                </a:lnTo>
                <a:lnTo>
                  <a:pt x="338074" y="364616"/>
                </a:lnTo>
                <a:lnTo>
                  <a:pt x="354202" y="349973"/>
                </a:lnTo>
                <a:lnTo>
                  <a:pt x="367538" y="336803"/>
                </a:lnTo>
                <a:lnTo>
                  <a:pt x="377825" y="320674"/>
                </a:lnTo>
                <a:lnTo>
                  <a:pt x="389509" y="303148"/>
                </a:lnTo>
                <a:lnTo>
                  <a:pt x="404241" y="265048"/>
                </a:lnTo>
                <a:lnTo>
                  <a:pt x="410083" y="247522"/>
                </a:lnTo>
                <a:lnTo>
                  <a:pt x="411607" y="226948"/>
                </a:lnTo>
                <a:lnTo>
                  <a:pt x="414527" y="204977"/>
                </a:lnTo>
                <a:lnTo>
                  <a:pt x="411607" y="183006"/>
                </a:lnTo>
                <a:lnTo>
                  <a:pt x="410083" y="162559"/>
                </a:lnTo>
                <a:lnTo>
                  <a:pt x="404241" y="143509"/>
                </a:lnTo>
                <a:lnTo>
                  <a:pt x="389509" y="106933"/>
                </a:lnTo>
                <a:lnTo>
                  <a:pt x="367538" y="74675"/>
                </a:lnTo>
                <a:lnTo>
                  <a:pt x="321945" y="33654"/>
                </a:lnTo>
                <a:lnTo>
                  <a:pt x="311919" y="27812"/>
                </a:lnTo>
                <a:close/>
              </a:path>
            </a:pathLst>
          </a:custGeom>
          <a:solidFill>
            <a:srgbClr val="2E36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23"/>
          <p:cNvSpPr txBox="1"/>
          <p:nvPr/>
        </p:nvSpPr>
        <p:spPr>
          <a:xfrm>
            <a:off x="6096000" y="4752702"/>
            <a:ext cx="2727326" cy="457176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solidFill>
                  <a:srgbClr val="171717"/>
                </a:solidFill>
                <a:latin typeface="Carlito"/>
                <a:cs typeface="Carlito"/>
              </a:rPr>
              <a:t>в электронной </a:t>
            </a:r>
            <a:r>
              <a:rPr sz="1400" dirty="0" err="1">
                <a:solidFill>
                  <a:srgbClr val="171717"/>
                </a:solidFill>
                <a:latin typeface="Carlito"/>
                <a:cs typeface="Carlito"/>
              </a:rPr>
              <a:t>форме</a:t>
            </a:r>
            <a:r>
              <a:rPr sz="1400" dirty="0">
                <a:solidFill>
                  <a:srgbClr val="171717"/>
                </a:solidFill>
                <a:latin typeface="Carlito"/>
                <a:cs typeface="Carlito"/>
              </a:rPr>
              <a:t> </a:t>
            </a:r>
            <a:r>
              <a:rPr sz="1400" dirty="0" err="1">
                <a:solidFill>
                  <a:srgbClr val="171717"/>
                </a:solidFill>
                <a:latin typeface="Carlito"/>
                <a:cs typeface="Carlito"/>
              </a:rPr>
              <a:t>на</a:t>
            </a:r>
            <a:r>
              <a:rPr sz="1400" dirty="0">
                <a:solidFill>
                  <a:srgbClr val="171717"/>
                </a:solidFill>
                <a:latin typeface="Carlito"/>
                <a:cs typeface="Carlito"/>
              </a:rPr>
              <a:t> </a:t>
            </a:r>
            <a:r>
              <a:rPr sz="1400" dirty="0" err="1">
                <a:solidFill>
                  <a:srgbClr val="171717"/>
                </a:solidFill>
                <a:latin typeface="Carlito"/>
                <a:cs typeface="Carlito"/>
              </a:rPr>
              <a:t>сайте</a:t>
            </a:r>
            <a:endParaRPr lang="ru-RU" sz="1400" dirty="0">
              <a:solidFill>
                <a:srgbClr val="171717"/>
              </a:solidFill>
              <a:latin typeface="Carlito"/>
              <a:cs typeface="Carlito"/>
            </a:endParaRPr>
          </a:p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ru-RU" sz="1400" dirty="0">
                <a:solidFill>
                  <a:srgbClr val="171717"/>
                </a:solidFill>
                <a:latin typeface="Carlito"/>
                <a:cs typeface="Carlito"/>
              </a:rPr>
              <a:t>доступно для скачивания          </a:t>
            </a:r>
            <a:endParaRPr sz="1200" dirty="0">
              <a:latin typeface="Carlito"/>
              <a:cs typeface="Carlito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905242" y="5371"/>
            <a:ext cx="8587031" cy="104644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400" b="1" dirty="0">
                <a:solidFill>
                  <a:srgbClr val="002060"/>
                </a:solidFill>
              </a:rPr>
              <a:t>КОМПОНЕНТЫ УМКА.П. КУЗНЕЦОВА, Э.В. КИМ . 10-11 КЛАССЫ</a:t>
            </a:r>
            <a:r>
              <a:rPr lang="ru-RU" b="1" dirty="0">
                <a:solidFill>
                  <a:srgbClr val="002060"/>
                </a:solidFill>
              </a:rPr>
              <a:t> </a:t>
            </a:r>
          </a:p>
          <a:p>
            <a:pPr algn="ctr"/>
            <a:r>
              <a:rPr lang="ru-RU" sz="2000" b="1" spc="-5" dirty="0">
                <a:solidFill>
                  <a:srgbClr val="002060"/>
                </a:solidFill>
                <a:cs typeface="Carlito"/>
              </a:rPr>
              <a:t>(базовый</a:t>
            </a:r>
            <a:r>
              <a:rPr lang="ru-RU" sz="2000" b="1" spc="15" dirty="0">
                <a:solidFill>
                  <a:srgbClr val="002060"/>
                </a:solidFill>
                <a:cs typeface="Carlito"/>
              </a:rPr>
              <a:t> </a:t>
            </a:r>
            <a:r>
              <a:rPr lang="ru-RU" sz="2000" b="1" spc="-5" dirty="0">
                <a:solidFill>
                  <a:srgbClr val="002060"/>
                </a:solidFill>
                <a:cs typeface="Carlito"/>
              </a:rPr>
              <a:t>уровень)</a:t>
            </a:r>
            <a:endParaRPr lang="ru-RU" sz="2000" b="1" dirty="0">
              <a:solidFill>
                <a:srgbClr val="002060"/>
              </a:solidFill>
              <a:cs typeface="Carlito"/>
            </a:endParaRPr>
          </a:p>
          <a:p>
            <a:pPr algn="ctr"/>
            <a:r>
              <a:rPr lang="ru-RU" b="1" dirty="0">
                <a:solidFill>
                  <a:srgbClr val="002060"/>
                </a:solidFill>
              </a:rPr>
              <a:t>  </a:t>
            </a:r>
            <a:endParaRPr lang="ru-RU" dirty="0"/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455815" y="706581"/>
            <a:ext cx="9919854" cy="39139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34" descr="География. 10-11 классы. Рабочая тетрадь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254" y="1565817"/>
            <a:ext cx="2076070" cy="2754253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476978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94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xmlns="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11375669" y="2257824"/>
            <a:ext cx="812363" cy="754751"/>
          </a:xfrm>
          <a:prstGeom prst="rect">
            <a:avLst/>
          </a:prstGeom>
          <a:solidFill>
            <a:srgbClr val="40D4E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3"/>
          <p:cNvSpPr>
            <a:spLocks noChangeArrowheads="1"/>
          </p:cNvSpPr>
          <p:nvPr/>
        </p:nvSpPr>
        <p:spPr bwMode="auto">
          <a:xfrm>
            <a:off x="11375669" y="5276823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4"/>
          <p:cNvSpPr>
            <a:spLocks noChangeArrowheads="1"/>
          </p:cNvSpPr>
          <p:nvPr/>
        </p:nvSpPr>
        <p:spPr bwMode="auto">
          <a:xfrm>
            <a:off x="11376586" y="4522072"/>
            <a:ext cx="812363" cy="754751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17"/>
          <p:cNvSpPr>
            <a:spLocks noChangeArrowheads="1"/>
          </p:cNvSpPr>
          <p:nvPr/>
        </p:nvSpPr>
        <p:spPr bwMode="auto">
          <a:xfrm>
            <a:off x="11375670" y="-4589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19"/>
          <p:cNvSpPr>
            <a:spLocks noChangeArrowheads="1"/>
          </p:cNvSpPr>
          <p:nvPr/>
        </p:nvSpPr>
        <p:spPr bwMode="auto">
          <a:xfrm>
            <a:off x="11376586" y="3012572"/>
            <a:ext cx="812363" cy="754751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1"/>
          <p:cNvSpPr>
            <a:spLocks noChangeArrowheads="1"/>
          </p:cNvSpPr>
          <p:nvPr/>
        </p:nvSpPr>
        <p:spPr bwMode="auto">
          <a:xfrm>
            <a:off x="11376586" y="6031572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2"/>
          <p:cNvSpPr>
            <a:spLocks noChangeArrowheads="1"/>
          </p:cNvSpPr>
          <p:nvPr/>
        </p:nvSpPr>
        <p:spPr bwMode="auto">
          <a:xfrm>
            <a:off x="11375670" y="1502768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2" name="Rectangle 25"/>
          <p:cNvSpPr>
            <a:spLocks noChangeArrowheads="1"/>
          </p:cNvSpPr>
          <p:nvPr/>
        </p:nvSpPr>
        <p:spPr bwMode="auto">
          <a:xfrm>
            <a:off x="11376586" y="3767322"/>
            <a:ext cx="812363" cy="754751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29"/>
          <p:cNvSpPr>
            <a:spLocks noChangeArrowheads="1"/>
          </p:cNvSpPr>
          <p:nvPr/>
        </p:nvSpPr>
        <p:spPr bwMode="auto">
          <a:xfrm>
            <a:off x="11375670" y="748019"/>
            <a:ext cx="812363" cy="754751"/>
          </a:xfrm>
          <a:prstGeom prst="rect">
            <a:avLst/>
          </a:prstGeom>
          <a:solidFill>
            <a:srgbClr val="9ED44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2"/>
          <p:cNvSpPr>
            <a:spLocks noEditPoints="1"/>
          </p:cNvSpPr>
          <p:nvPr/>
        </p:nvSpPr>
        <p:spPr bwMode="auto">
          <a:xfrm>
            <a:off x="11600809" y="2514255"/>
            <a:ext cx="362085" cy="271895"/>
          </a:xfrm>
          <a:custGeom>
            <a:avLst/>
            <a:gdLst>
              <a:gd name="T0" fmla="*/ 787 w 859"/>
              <a:gd name="T1" fmla="*/ 107 h 644"/>
              <a:gd name="T2" fmla="*/ 787 w 859"/>
              <a:gd name="T3" fmla="*/ 573 h 644"/>
              <a:gd name="T4" fmla="*/ 537 w 859"/>
              <a:gd name="T5" fmla="*/ 573 h 644"/>
              <a:gd name="T6" fmla="*/ 465 w 859"/>
              <a:gd name="T7" fmla="*/ 644 h 644"/>
              <a:gd name="T8" fmla="*/ 859 w 859"/>
              <a:gd name="T9" fmla="*/ 644 h 644"/>
              <a:gd name="T10" fmla="*/ 859 w 859"/>
              <a:gd name="T11" fmla="*/ 107 h 644"/>
              <a:gd name="T12" fmla="*/ 787 w 859"/>
              <a:gd name="T13" fmla="*/ 107 h 644"/>
              <a:gd name="T14" fmla="*/ 476 w 859"/>
              <a:gd name="T15" fmla="*/ 476 h 644"/>
              <a:gd name="T16" fmla="*/ 383 w 859"/>
              <a:gd name="T17" fmla="*/ 476 h 644"/>
              <a:gd name="T18" fmla="*/ 373 w 859"/>
              <a:gd name="T19" fmla="*/ 465 h 644"/>
              <a:gd name="T20" fmla="*/ 179 w 859"/>
              <a:gd name="T21" fmla="*/ 465 h 644"/>
              <a:gd name="T22" fmla="*/ 179 w 859"/>
              <a:gd name="T23" fmla="*/ 71 h 644"/>
              <a:gd name="T24" fmla="*/ 344 w 859"/>
              <a:gd name="T25" fmla="*/ 71 h 644"/>
              <a:gd name="T26" fmla="*/ 393 w 859"/>
              <a:gd name="T27" fmla="*/ 96 h 644"/>
              <a:gd name="T28" fmla="*/ 393 w 859"/>
              <a:gd name="T29" fmla="*/ 358 h 644"/>
              <a:gd name="T30" fmla="*/ 465 w 859"/>
              <a:gd name="T31" fmla="*/ 358 h 644"/>
              <a:gd name="T32" fmla="*/ 465 w 859"/>
              <a:gd name="T33" fmla="*/ 96 h 644"/>
              <a:gd name="T34" fmla="*/ 515 w 859"/>
              <a:gd name="T35" fmla="*/ 71 h 644"/>
              <a:gd name="T36" fmla="*/ 680 w 859"/>
              <a:gd name="T37" fmla="*/ 71 h 644"/>
              <a:gd name="T38" fmla="*/ 680 w 859"/>
              <a:gd name="T39" fmla="*/ 465 h 644"/>
              <a:gd name="T40" fmla="*/ 486 w 859"/>
              <a:gd name="T41" fmla="*/ 465 h 644"/>
              <a:gd name="T42" fmla="*/ 476 w 859"/>
              <a:gd name="T43" fmla="*/ 476 h 644"/>
              <a:gd name="T44" fmla="*/ 752 w 859"/>
              <a:gd name="T45" fmla="*/ 537 h 644"/>
              <a:gd name="T46" fmla="*/ 752 w 859"/>
              <a:gd name="T47" fmla="*/ 0 h 644"/>
              <a:gd name="T48" fmla="*/ 486 w 859"/>
              <a:gd name="T49" fmla="*/ 0 h 644"/>
              <a:gd name="T50" fmla="*/ 476 w 859"/>
              <a:gd name="T51" fmla="*/ 10 h 644"/>
              <a:gd name="T52" fmla="*/ 383 w 859"/>
              <a:gd name="T53" fmla="*/ 10 h 644"/>
              <a:gd name="T54" fmla="*/ 373 w 859"/>
              <a:gd name="T55" fmla="*/ 0 h 644"/>
              <a:gd name="T56" fmla="*/ 107 w 859"/>
              <a:gd name="T57" fmla="*/ 0 h 644"/>
              <a:gd name="T58" fmla="*/ 107 w 859"/>
              <a:gd name="T59" fmla="*/ 537 h 644"/>
              <a:gd name="T60" fmla="*/ 344 w 859"/>
              <a:gd name="T61" fmla="*/ 537 h 644"/>
              <a:gd name="T62" fmla="*/ 429 w 859"/>
              <a:gd name="T63" fmla="*/ 566 h 644"/>
              <a:gd name="T64" fmla="*/ 515 w 859"/>
              <a:gd name="T65" fmla="*/ 537 h 644"/>
              <a:gd name="T66" fmla="*/ 752 w 859"/>
              <a:gd name="T67" fmla="*/ 537 h 644"/>
              <a:gd name="T68" fmla="*/ 71 w 859"/>
              <a:gd name="T69" fmla="*/ 573 h 644"/>
              <a:gd name="T70" fmla="*/ 71 w 859"/>
              <a:gd name="T71" fmla="*/ 107 h 644"/>
              <a:gd name="T72" fmla="*/ 0 w 859"/>
              <a:gd name="T73" fmla="*/ 107 h 644"/>
              <a:gd name="T74" fmla="*/ 0 w 859"/>
              <a:gd name="T75" fmla="*/ 644 h 644"/>
              <a:gd name="T76" fmla="*/ 394 w 859"/>
              <a:gd name="T77" fmla="*/ 644 h 644"/>
              <a:gd name="T78" fmla="*/ 322 w 859"/>
              <a:gd name="T79" fmla="*/ 573 h 644"/>
              <a:gd name="T80" fmla="*/ 71 w 859"/>
              <a:gd name="T81" fmla="*/ 573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9" h="644">
                <a:moveTo>
                  <a:pt x="787" y="107"/>
                </a:moveTo>
                <a:lnTo>
                  <a:pt x="787" y="573"/>
                </a:lnTo>
                <a:lnTo>
                  <a:pt x="537" y="573"/>
                </a:lnTo>
                <a:lnTo>
                  <a:pt x="465" y="644"/>
                </a:lnTo>
                <a:lnTo>
                  <a:pt x="859" y="644"/>
                </a:lnTo>
                <a:lnTo>
                  <a:pt x="859" y="107"/>
                </a:lnTo>
                <a:lnTo>
                  <a:pt x="787" y="107"/>
                </a:lnTo>
                <a:close/>
                <a:moveTo>
                  <a:pt x="476" y="476"/>
                </a:moveTo>
                <a:cubicBezTo>
                  <a:pt x="450" y="501"/>
                  <a:pt x="409" y="501"/>
                  <a:pt x="383" y="476"/>
                </a:cubicBezTo>
                <a:lnTo>
                  <a:pt x="373" y="465"/>
                </a:lnTo>
                <a:lnTo>
                  <a:pt x="179" y="465"/>
                </a:lnTo>
                <a:lnTo>
                  <a:pt x="179" y="71"/>
                </a:lnTo>
                <a:lnTo>
                  <a:pt x="344" y="71"/>
                </a:lnTo>
                <a:cubicBezTo>
                  <a:pt x="359" y="71"/>
                  <a:pt x="393" y="91"/>
                  <a:pt x="393" y="96"/>
                </a:cubicBezTo>
                <a:lnTo>
                  <a:pt x="393" y="358"/>
                </a:lnTo>
                <a:lnTo>
                  <a:pt x="465" y="358"/>
                </a:lnTo>
                <a:lnTo>
                  <a:pt x="465" y="96"/>
                </a:lnTo>
                <a:cubicBezTo>
                  <a:pt x="465" y="91"/>
                  <a:pt x="500" y="71"/>
                  <a:pt x="515" y="71"/>
                </a:cubicBezTo>
                <a:lnTo>
                  <a:pt x="680" y="71"/>
                </a:lnTo>
                <a:lnTo>
                  <a:pt x="680" y="465"/>
                </a:lnTo>
                <a:lnTo>
                  <a:pt x="486" y="465"/>
                </a:lnTo>
                <a:lnTo>
                  <a:pt x="476" y="476"/>
                </a:lnTo>
                <a:close/>
                <a:moveTo>
                  <a:pt x="752" y="537"/>
                </a:moveTo>
                <a:lnTo>
                  <a:pt x="752" y="0"/>
                </a:lnTo>
                <a:lnTo>
                  <a:pt x="486" y="0"/>
                </a:lnTo>
                <a:lnTo>
                  <a:pt x="476" y="10"/>
                </a:lnTo>
                <a:cubicBezTo>
                  <a:pt x="450" y="36"/>
                  <a:pt x="409" y="36"/>
                  <a:pt x="383" y="10"/>
                </a:cubicBezTo>
                <a:lnTo>
                  <a:pt x="373" y="0"/>
                </a:lnTo>
                <a:lnTo>
                  <a:pt x="107" y="0"/>
                </a:lnTo>
                <a:lnTo>
                  <a:pt x="107" y="537"/>
                </a:lnTo>
                <a:lnTo>
                  <a:pt x="344" y="537"/>
                </a:lnTo>
                <a:cubicBezTo>
                  <a:pt x="369" y="573"/>
                  <a:pt x="399" y="566"/>
                  <a:pt x="429" y="566"/>
                </a:cubicBezTo>
                <a:cubicBezTo>
                  <a:pt x="460" y="566"/>
                  <a:pt x="490" y="573"/>
                  <a:pt x="515" y="537"/>
                </a:cubicBezTo>
                <a:lnTo>
                  <a:pt x="752" y="537"/>
                </a:lnTo>
                <a:close/>
                <a:moveTo>
                  <a:pt x="71" y="573"/>
                </a:moveTo>
                <a:lnTo>
                  <a:pt x="71" y="107"/>
                </a:lnTo>
                <a:lnTo>
                  <a:pt x="0" y="107"/>
                </a:lnTo>
                <a:lnTo>
                  <a:pt x="0" y="644"/>
                </a:lnTo>
                <a:lnTo>
                  <a:pt x="394" y="644"/>
                </a:lnTo>
                <a:lnTo>
                  <a:pt x="322" y="573"/>
                </a:lnTo>
                <a:lnTo>
                  <a:pt x="71" y="5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0"/>
          <p:cNvSpPr>
            <a:spLocks noEditPoints="1"/>
          </p:cNvSpPr>
          <p:nvPr/>
        </p:nvSpPr>
        <p:spPr bwMode="auto">
          <a:xfrm>
            <a:off x="11601728" y="1744503"/>
            <a:ext cx="360248" cy="301287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8" name="Freeform 41"/>
          <p:cNvSpPr>
            <a:spLocks/>
          </p:cNvSpPr>
          <p:nvPr/>
        </p:nvSpPr>
        <p:spPr bwMode="auto">
          <a:xfrm>
            <a:off x="11600809" y="4756459"/>
            <a:ext cx="362085" cy="315984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69" name="Группа 68"/>
          <p:cNvGrpSpPr/>
          <p:nvPr/>
        </p:nvGrpSpPr>
        <p:grpSpPr>
          <a:xfrm>
            <a:off x="11614594" y="200960"/>
            <a:ext cx="334516" cy="361915"/>
            <a:chOff x="477468" y="2705515"/>
            <a:chExt cx="409903" cy="443477"/>
          </a:xfrm>
        </p:grpSpPr>
        <p:sp>
          <p:nvSpPr>
            <p:cNvPr id="70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1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72" name="Freeform 44"/>
          <p:cNvSpPr>
            <a:spLocks noEditPoints="1"/>
          </p:cNvSpPr>
          <p:nvPr/>
        </p:nvSpPr>
        <p:spPr bwMode="auto">
          <a:xfrm>
            <a:off x="11606322" y="5464056"/>
            <a:ext cx="351059" cy="380284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3" name="Freeform 45"/>
          <p:cNvSpPr>
            <a:spLocks noEditPoints="1"/>
          </p:cNvSpPr>
          <p:nvPr/>
        </p:nvSpPr>
        <p:spPr bwMode="auto">
          <a:xfrm>
            <a:off x="11601728" y="966788"/>
            <a:ext cx="360248" cy="347216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89" name="Freeform 46"/>
          <p:cNvSpPr>
            <a:spLocks noEditPoints="1"/>
          </p:cNvSpPr>
          <p:nvPr/>
        </p:nvSpPr>
        <p:spPr bwMode="auto">
          <a:xfrm>
            <a:off x="11655949" y="3977824"/>
            <a:ext cx="251807" cy="363751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5" name="Freeform 52"/>
          <p:cNvSpPr>
            <a:spLocks noEditPoints="1"/>
          </p:cNvSpPr>
          <p:nvPr/>
        </p:nvSpPr>
        <p:spPr bwMode="auto">
          <a:xfrm>
            <a:off x="11605404" y="3223075"/>
            <a:ext cx="352896" cy="36375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Freeform 53"/>
          <p:cNvSpPr>
            <a:spLocks noEditPoints="1"/>
          </p:cNvSpPr>
          <p:nvPr/>
        </p:nvSpPr>
        <p:spPr bwMode="auto">
          <a:xfrm>
            <a:off x="11594376" y="6260448"/>
            <a:ext cx="374952" cy="327005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115" name="AutoShape 4"/>
          <p:cNvSpPr>
            <a:spLocks noChangeAspect="1" noChangeArrowheads="1" noTextEdit="1"/>
          </p:cNvSpPr>
          <p:nvPr/>
        </p:nvSpPr>
        <p:spPr bwMode="auto">
          <a:xfrm>
            <a:off x="5844301" y="1808388"/>
            <a:ext cx="918665" cy="317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79" name="Группа 78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80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3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4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5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6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7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8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0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1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2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3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4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7" name="Picture 27" descr="https://catalog.prosv.ru/images/big/a74e7641-8ec3-11e6-b62d-0050569c7d18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667" y="2022902"/>
            <a:ext cx="1828543" cy="25411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8" name="Прямоугольник 57"/>
          <p:cNvSpPr/>
          <p:nvPr/>
        </p:nvSpPr>
        <p:spPr>
          <a:xfrm>
            <a:off x="616124" y="929218"/>
            <a:ext cx="446911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rgbClr val="333333"/>
                </a:solidFill>
              </a:rPr>
              <a:t> </a:t>
            </a:r>
            <a:r>
              <a:rPr lang="ru-RU" sz="2000" b="1" dirty="0"/>
              <a:t>Курс по выбору 10-11 классы</a:t>
            </a:r>
            <a:endParaRPr lang="ru-RU" sz="2000" b="1" i="0" dirty="0">
              <a:solidFill>
                <a:srgbClr val="333333"/>
              </a:solidFill>
              <a:effectLst/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2312573" y="2062039"/>
            <a:ext cx="2469270" cy="280076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</a:rPr>
              <a:t>содержание курса расширяет знания о государствах, граничащих с Россией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</a:rPr>
              <a:t>даёт глубокое и целостное представление о Российском </a:t>
            </a:r>
            <a:r>
              <a:rPr lang="ru-RU" sz="1600" dirty="0" err="1">
                <a:solidFill>
                  <a:srgbClr val="000000"/>
                </a:solidFill>
              </a:rPr>
              <a:t>порубежье</a:t>
            </a:r>
            <a:r>
              <a:rPr lang="ru-RU" sz="1600" dirty="0">
                <a:solidFill>
                  <a:srgbClr val="000000"/>
                </a:solidFill>
              </a:rPr>
              <a:t>,  хозяйстве и населении соседних стран</a:t>
            </a:r>
            <a:endParaRPr lang="ru-RU" sz="1600" dirty="0"/>
          </a:p>
        </p:txBody>
      </p:sp>
      <p:sp>
        <p:nvSpPr>
          <p:cNvPr id="3" name="TextBox 2"/>
          <p:cNvSpPr txBox="1"/>
          <p:nvPr/>
        </p:nvSpPr>
        <p:spPr>
          <a:xfrm>
            <a:off x="1952719" y="124493"/>
            <a:ext cx="852710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rgbClr val="002060"/>
                </a:solidFill>
                <a:latin typeface="Carlito"/>
              </a:rPr>
              <a:t>КУРСЫ ПО ВЫБОРУ И ПОСОБИЯ ПО ГЕОГРАФИИ. 10-11 КЛАССЫ</a:t>
            </a:r>
          </a:p>
        </p:txBody>
      </p:sp>
      <p:pic>
        <p:nvPicPr>
          <p:cNvPr id="55" name="Рисунок 5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6945" y="4092915"/>
            <a:ext cx="1516624" cy="2158155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1" name="Рисунок 6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7015" y="1793675"/>
            <a:ext cx="1531794" cy="2158155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2" name="Скругленный прямоугольник 102">
            <a:extLst>
              <a:ext uri="{FF2B5EF4-FFF2-40B4-BE49-F238E27FC236}">
                <a16:creationId xmlns:a16="http://schemas.microsoft.com/office/drawing/2014/main" xmlns="" id="{CFBB0E25-C5D3-4A2B-BACE-6EA7AB98B489}"/>
              </a:ext>
            </a:extLst>
          </p:cNvPr>
          <p:cNvSpPr/>
          <p:nvPr/>
        </p:nvSpPr>
        <p:spPr>
          <a:xfrm>
            <a:off x="9942596" y="989071"/>
            <a:ext cx="1074459" cy="329376"/>
          </a:xfrm>
          <a:prstGeom prst="roundRect">
            <a:avLst/>
          </a:prstGeom>
          <a:solidFill>
            <a:srgbClr val="FC0652"/>
          </a:solidFill>
          <a:ln w="9525">
            <a:solidFill>
              <a:srgbClr val="FC065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НОВИНКА 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5951473" y="885187"/>
            <a:ext cx="402009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Carlito"/>
              </a:rPr>
              <a:t>Учебное  пособие. 10-11 классы</a:t>
            </a:r>
          </a:p>
          <a:p>
            <a:r>
              <a:rPr lang="ru-RU" b="1" dirty="0">
                <a:latin typeface="Calibri" panose="020F0502020204030204" pitchFamily="34" charset="0"/>
              </a:rPr>
              <a:t>Новая географическая картина мира.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7898963" y="1852128"/>
            <a:ext cx="2580863" cy="337015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342900" lvl="0" indent="-3429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solidFill>
                  <a:srgbClr val="181818">
                    <a:lumMod val="90000"/>
                    <a:lumOff val="10000"/>
                  </a:srgbClr>
                </a:solidFill>
                <a:latin typeface="Calibri" panose="020F0502020204030204" pitchFamily="34" charset="0"/>
              </a:rPr>
              <a:t>Актуальный и системно-организованный материал для учителя с целью подготовки к урокам, организации проектной и исследовательской деятельности учащихся</a:t>
            </a:r>
          </a:p>
          <a:p>
            <a:pPr marL="342900" lvl="0" indent="-3429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solidFill>
                  <a:srgbClr val="181818">
                    <a:lumMod val="90000"/>
                    <a:lumOff val="10000"/>
                  </a:srgbClr>
                </a:solidFill>
                <a:latin typeface="Calibri" panose="020F0502020204030204" pitchFamily="34" charset="0"/>
              </a:rPr>
              <a:t>Подготовка учащихся к олимпиадам и итоговой аттестации (ЕГЭ)</a:t>
            </a:r>
          </a:p>
        </p:txBody>
      </p:sp>
      <p:sp>
        <p:nvSpPr>
          <p:cNvPr id="51" name="object 40"/>
          <p:cNvSpPr txBox="1"/>
          <p:nvPr/>
        </p:nvSpPr>
        <p:spPr>
          <a:xfrm>
            <a:off x="508294" y="4680156"/>
            <a:ext cx="1297902" cy="219291"/>
          </a:xfrm>
          <a:prstGeom prst="rect">
            <a:avLst/>
          </a:prstGeom>
          <a:solidFill>
            <a:srgbClr val="2C3493"/>
          </a:solidFill>
        </p:spPr>
        <p:txBody>
          <a:bodyPr vert="horz" wrap="square" lIns="0" tIns="49530" rIns="0" bIns="0" rtlCol="0">
            <a:spAutoFit/>
          </a:bodyPr>
          <a:lstStyle/>
          <a:p>
            <a:pPr marL="1905">
              <a:lnSpc>
                <a:spcPct val="100000"/>
              </a:lnSpc>
              <a:spcBef>
                <a:spcPts val="390"/>
              </a:spcBef>
            </a:pPr>
            <a:r>
              <a:rPr sz="1100" b="1" spc="-5" dirty="0">
                <a:solidFill>
                  <a:srgbClr val="FFFFFF"/>
                </a:solidFill>
                <a:latin typeface="Carlito"/>
                <a:cs typeface="Carlito"/>
              </a:rPr>
              <a:t>ФП № </a:t>
            </a:r>
            <a:r>
              <a:rPr lang="ru-RU" sz="1100" b="1" spc="-10" dirty="0">
                <a:solidFill>
                  <a:srgbClr val="FFFFFF"/>
                </a:solidFill>
                <a:latin typeface="Carlito"/>
                <a:cs typeface="Carlito"/>
              </a:rPr>
              <a:t>2.1.3.1.1.1.1</a:t>
            </a:r>
            <a:endParaRPr lang="en-US" sz="1100" b="1" spc="-10" dirty="0">
              <a:solidFill>
                <a:srgbClr val="FFFFFF"/>
              </a:solidFill>
              <a:latin typeface="Carlito"/>
              <a:cs typeface="Carlito"/>
            </a:endParaRPr>
          </a:p>
        </p:txBody>
      </p:sp>
      <p:cxnSp>
        <p:nvCxnSpPr>
          <p:cNvPr id="53" name="Прямая соединительная линия 52"/>
          <p:cNvCxnSpPr/>
          <p:nvPr/>
        </p:nvCxnSpPr>
        <p:spPr>
          <a:xfrm>
            <a:off x="1674328" y="604268"/>
            <a:ext cx="9701341" cy="15932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200858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3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object 24"/>
          <p:cNvSpPr txBox="1"/>
          <p:nvPr/>
        </p:nvSpPr>
        <p:spPr>
          <a:xfrm>
            <a:off x="5657785" y="62170"/>
            <a:ext cx="3163682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2400" b="1" spc="-5" dirty="0">
                <a:solidFill>
                  <a:srgbClr val="002060"/>
                </a:solidFill>
                <a:latin typeface="Carlito"/>
                <a:cs typeface="Carlito"/>
              </a:rPr>
              <a:t>С</a:t>
            </a:r>
            <a:r>
              <a:rPr sz="2400" b="1" spc="-80" dirty="0">
                <a:solidFill>
                  <a:srgbClr val="002060"/>
                </a:solidFill>
                <a:latin typeface="Carlito"/>
                <a:cs typeface="Carlito"/>
              </a:rPr>
              <a:t>Т</a:t>
            </a:r>
            <a:r>
              <a:rPr sz="2400" b="1" dirty="0">
                <a:solidFill>
                  <a:srgbClr val="002060"/>
                </a:solidFill>
                <a:latin typeface="Carlito"/>
                <a:cs typeface="Carlito"/>
              </a:rPr>
              <a:t>А</a:t>
            </a:r>
            <a:r>
              <a:rPr sz="2400" b="1" spc="-5" dirty="0">
                <a:solidFill>
                  <a:srgbClr val="002060"/>
                </a:solidFill>
                <a:latin typeface="Carlito"/>
                <a:cs typeface="Carlito"/>
              </a:rPr>
              <a:t>РШ</a:t>
            </a:r>
            <a:r>
              <a:rPr sz="2400" b="1" dirty="0">
                <a:solidFill>
                  <a:srgbClr val="002060"/>
                </a:solidFill>
                <a:latin typeface="Carlito"/>
                <a:cs typeface="Carlito"/>
              </a:rPr>
              <a:t>АЯ  </a:t>
            </a:r>
            <a:r>
              <a:rPr sz="2400" b="1" spc="-15" dirty="0">
                <a:solidFill>
                  <a:srgbClr val="002060"/>
                </a:solidFill>
                <a:latin typeface="Carlito"/>
                <a:cs typeface="Carlito"/>
              </a:rPr>
              <a:t>ШКОЛА</a:t>
            </a:r>
            <a:endParaRPr sz="2400" dirty="0">
              <a:solidFill>
                <a:srgbClr val="002060"/>
              </a:solidFill>
              <a:latin typeface="Carlito"/>
              <a:cs typeface="Carlito"/>
            </a:endParaRPr>
          </a:p>
        </p:txBody>
      </p:sp>
      <p:sp>
        <p:nvSpPr>
          <p:cNvPr id="22" name="object 29"/>
          <p:cNvSpPr txBox="1"/>
          <p:nvPr/>
        </p:nvSpPr>
        <p:spPr>
          <a:xfrm>
            <a:off x="684292" y="5865320"/>
            <a:ext cx="2182878" cy="155171"/>
          </a:xfrm>
          <a:prstGeom prst="rect">
            <a:avLst/>
          </a:prstGeom>
          <a:solidFill>
            <a:srgbClr val="2C3493"/>
          </a:solidFill>
        </p:spPr>
        <p:txBody>
          <a:bodyPr vert="horz" wrap="square" lIns="0" tIns="1270" rIns="0" bIns="0" rtlCol="0">
            <a:spAutoFit/>
          </a:bodyPr>
          <a:lstStyle/>
          <a:p>
            <a:pPr marL="255904">
              <a:spcBef>
                <a:spcPts val="5"/>
              </a:spcBef>
            </a:pPr>
            <a:r>
              <a:rPr sz="1000" b="1" spc="-5" dirty="0">
                <a:solidFill>
                  <a:srgbClr val="FFFFFF"/>
                </a:solidFill>
                <a:latin typeface="Carlito"/>
                <a:cs typeface="Carlito"/>
              </a:rPr>
              <a:t>ФП</a:t>
            </a:r>
            <a:r>
              <a:rPr sz="1000" b="1" spc="-15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1000" b="1" spc="-10" dirty="0">
                <a:solidFill>
                  <a:srgbClr val="FFFFFF"/>
                </a:solidFill>
                <a:latin typeface="Carlito"/>
                <a:cs typeface="Carlito"/>
              </a:rPr>
              <a:t>№</a:t>
            </a:r>
            <a:r>
              <a:rPr lang="ru-RU" sz="1000" b="1" spc="-10" dirty="0">
                <a:solidFill>
                  <a:srgbClr val="FFFFFF"/>
                </a:solidFill>
                <a:latin typeface="Carlito"/>
                <a:cs typeface="Carlito"/>
              </a:rPr>
              <a:t> 1.1.3.3.2.2.1</a:t>
            </a:r>
            <a:r>
              <a:rPr lang="ru-RU" sz="1000" b="1" spc="-5" dirty="0">
                <a:solidFill>
                  <a:srgbClr val="FFFFFF"/>
                </a:solidFill>
                <a:latin typeface="Carlito"/>
                <a:cs typeface="Carlito"/>
              </a:rPr>
              <a:t> –</a:t>
            </a:r>
            <a:r>
              <a:rPr lang="ru-RU" sz="1000" b="1" dirty="0">
                <a:solidFill>
                  <a:schemeClr val="bg1"/>
                </a:solidFill>
                <a:latin typeface="Carlito"/>
                <a:cs typeface="Carlito"/>
              </a:rPr>
              <a:t>1.1.3.3.2.2.2</a:t>
            </a:r>
          </a:p>
        </p:txBody>
      </p:sp>
      <p:sp>
        <p:nvSpPr>
          <p:cNvPr id="25" name="object 41"/>
          <p:cNvSpPr txBox="1"/>
          <p:nvPr/>
        </p:nvSpPr>
        <p:spPr>
          <a:xfrm>
            <a:off x="8480166" y="867487"/>
            <a:ext cx="2945102" cy="34881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10820" marR="203835" algn="ctr">
              <a:lnSpc>
                <a:spcPct val="100000"/>
              </a:lnSpc>
              <a:spcBef>
                <a:spcPts val="100"/>
              </a:spcBef>
            </a:pPr>
            <a:r>
              <a:rPr lang="ru-RU" sz="1050" b="1" dirty="0" err="1">
                <a:solidFill>
                  <a:srgbClr val="2E2E2E"/>
                </a:solidFill>
                <a:latin typeface="Carlito"/>
                <a:cs typeface="Carlito"/>
              </a:rPr>
              <a:t>УМК"Сферы</a:t>
            </a:r>
            <a:r>
              <a:rPr lang="ru-RU" sz="1050" b="1" dirty="0">
                <a:solidFill>
                  <a:srgbClr val="2E2E2E"/>
                </a:solidFill>
                <a:latin typeface="Carlito"/>
                <a:cs typeface="Carlito"/>
              </a:rPr>
              <a:t>" Д. Л. </a:t>
            </a:r>
            <a:r>
              <a:rPr lang="ru-RU" sz="1050" b="1" dirty="0" err="1">
                <a:solidFill>
                  <a:srgbClr val="2E2E2E"/>
                </a:solidFill>
                <a:latin typeface="Carlito"/>
                <a:cs typeface="Carlito"/>
              </a:rPr>
              <a:t>Лопатников</a:t>
            </a:r>
            <a:r>
              <a:rPr lang="ru-RU" sz="1050" b="1" dirty="0">
                <a:solidFill>
                  <a:srgbClr val="2E2E2E"/>
                </a:solidFill>
                <a:latin typeface="Carlito"/>
                <a:cs typeface="Carlito"/>
              </a:rPr>
              <a:t> </a:t>
            </a:r>
          </a:p>
          <a:p>
            <a:pPr marL="210820" marR="203835" algn="ctr">
              <a:spcBef>
                <a:spcPts val="100"/>
              </a:spcBef>
            </a:pPr>
            <a:r>
              <a:rPr lang="ru-RU" sz="1050" b="1" dirty="0">
                <a:solidFill>
                  <a:srgbClr val="2E2E2E"/>
                </a:solidFill>
                <a:latin typeface="Carlito"/>
                <a:cs typeface="Carlito"/>
              </a:rPr>
              <a:t>(базовый уровень) ) 10-11кл.</a:t>
            </a:r>
            <a:endParaRPr sz="1050" b="1" dirty="0">
              <a:latin typeface="Carlito"/>
              <a:cs typeface="Carlito"/>
            </a:endParaRPr>
          </a:p>
        </p:txBody>
      </p:sp>
      <p:sp>
        <p:nvSpPr>
          <p:cNvPr id="26" name="object 42"/>
          <p:cNvSpPr txBox="1"/>
          <p:nvPr/>
        </p:nvSpPr>
        <p:spPr>
          <a:xfrm>
            <a:off x="845873" y="913801"/>
            <a:ext cx="2000282" cy="34881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52425" marR="5080" indent="-340360">
              <a:lnSpc>
                <a:spcPct val="100000"/>
              </a:lnSpc>
              <a:spcBef>
                <a:spcPts val="100"/>
              </a:spcBef>
            </a:pPr>
            <a:r>
              <a:rPr lang="ru-RU" sz="1050" b="1" spc="-5" dirty="0">
                <a:solidFill>
                  <a:srgbClr val="2E2E2E"/>
                </a:solidFill>
                <a:latin typeface="Carlito"/>
                <a:cs typeface="Carlito"/>
              </a:rPr>
              <a:t>УМК В.П. </a:t>
            </a:r>
            <a:r>
              <a:rPr lang="ru-RU" sz="1050" b="1" spc="-5" dirty="0" err="1">
                <a:solidFill>
                  <a:srgbClr val="2E2E2E"/>
                </a:solidFill>
                <a:latin typeface="Carlito"/>
                <a:cs typeface="Carlito"/>
              </a:rPr>
              <a:t>Максаковский</a:t>
            </a:r>
            <a:endParaRPr lang="ru-RU" sz="1050" b="1" spc="-5" dirty="0">
              <a:solidFill>
                <a:srgbClr val="2E2E2E"/>
              </a:solidFill>
              <a:latin typeface="Carlito"/>
              <a:cs typeface="Carlito"/>
            </a:endParaRPr>
          </a:p>
          <a:p>
            <a:pPr marL="352425" marR="5080" indent="-340360">
              <a:lnSpc>
                <a:spcPct val="100000"/>
              </a:lnSpc>
              <a:spcBef>
                <a:spcPts val="100"/>
              </a:spcBef>
            </a:pPr>
            <a:r>
              <a:rPr lang="ru-RU" sz="1050" b="1" spc="-5" dirty="0">
                <a:solidFill>
                  <a:srgbClr val="2E2E2E"/>
                </a:solidFill>
                <a:latin typeface="Carlito"/>
                <a:cs typeface="Carlito"/>
              </a:rPr>
              <a:t> (базовый уровень) 10-11кл.</a:t>
            </a:r>
            <a:endParaRPr sz="1050" b="1" dirty="0">
              <a:latin typeface="Carlito"/>
              <a:cs typeface="Carlito"/>
            </a:endParaRPr>
          </a:p>
        </p:txBody>
      </p:sp>
      <p:sp>
        <p:nvSpPr>
          <p:cNvPr id="32" name="object 22"/>
          <p:cNvSpPr txBox="1"/>
          <p:nvPr/>
        </p:nvSpPr>
        <p:spPr>
          <a:xfrm>
            <a:off x="449444" y="3458579"/>
            <a:ext cx="2354043" cy="612988"/>
          </a:xfrm>
          <a:prstGeom prst="rect">
            <a:avLst/>
          </a:prstGeom>
        </p:spPr>
        <p:txBody>
          <a:bodyPr vert="horz" wrap="square" lIns="0" tIns="22860" rIns="0" bIns="0" rtlCol="0">
            <a:spAutoFit/>
          </a:bodyPr>
          <a:lstStyle/>
          <a:p>
            <a:pPr marL="411480" marR="5080" indent="-399415" algn="ctr">
              <a:lnSpc>
                <a:spcPts val="1400"/>
              </a:lnSpc>
              <a:spcBef>
                <a:spcPts val="180"/>
              </a:spcBef>
            </a:pPr>
            <a:r>
              <a:rPr sz="1050" b="1" spc="-5" dirty="0">
                <a:solidFill>
                  <a:srgbClr val="2E2E2E"/>
                </a:solidFill>
                <a:latin typeface="Carlito"/>
                <a:cs typeface="Carlito"/>
              </a:rPr>
              <a:t>Линия </a:t>
            </a:r>
            <a:r>
              <a:rPr sz="1050" b="1" dirty="0">
                <a:solidFill>
                  <a:srgbClr val="2E2E2E"/>
                </a:solidFill>
                <a:latin typeface="Carlito"/>
                <a:cs typeface="Carlito"/>
              </a:rPr>
              <a:t>УМК </a:t>
            </a:r>
            <a:r>
              <a:rPr lang="ru-RU" sz="1050" b="1" spc="-15" dirty="0">
                <a:solidFill>
                  <a:srgbClr val="2E2E2E"/>
                </a:solidFill>
                <a:latin typeface="Carlito"/>
                <a:cs typeface="Carlito"/>
              </a:rPr>
              <a:t>«Полярная звезда» </a:t>
            </a:r>
          </a:p>
          <a:p>
            <a:pPr marL="411480" marR="5080" indent="-399415" algn="ctr">
              <a:lnSpc>
                <a:spcPts val="1400"/>
              </a:lnSpc>
              <a:spcBef>
                <a:spcPts val="180"/>
              </a:spcBef>
            </a:pPr>
            <a:r>
              <a:rPr lang="ru-RU" sz="1050" b="1" spc="-15" dirty="0">
                <a:solidFill>
                  <a:srgbClr val="2E2E2E"/>
                </a:solidFill>
                <a:latin typeface="Carlito"/>
                <a:cs typeface="Carlito"/>
              </a:rPr>
              <a:t>(базовый и углубленный</a:t>
            </a:r>
            <a:r>
              <a:rPr lang="ru-RU" sz="1050" b="1" spc="5" dirty="0">
                <a:solidFill>
                  <a:srgbClr val="2E2E2E"/>
                </a:solidFill>
                <a:latin typeface="Carlito"/>
                <a:cs typeface="Carlito"/>
              </a:rPr>
              <a:t> </a:t>
            </a:r>
            <a:r>
              <a:rPr lang="ru-RU" sz="1050" b="1" spc="-5" dirty="0">
                <a:solidFill>
                  <a:srgbClr val="2E2E2E"/>
                </a:solidFill>
                <a:latin typeface="Carlito"/>
                <a:cs typeface="Carlito"/>
              </a:rPr>
              <a:t>уровень)  </a:t>
            </a:r>
          </a:p>
          <a:p>
            <a:pPr marL="411480" marR="5080" indent="-399415" algn="ctr">
              <a:lnSpc>
                <a:spcPts val="1400"/>
              </a:lnSpc>
              <a:spcBef>
                <a:spcPts val="180"/>
              </a:spcBef>
            </a:pPr>
            <a:r>
              <a:rPr lang="ru-RU" sz="1050" b="1" spc="-5" dirty="0">
                <a:solidFill>
                  <a:srgbClr val="2E2E2E"/>
                </a:solidFill>
                <a:latin typeface="Carlito"/>
                <a:cs typeface="Carlito"/>
              </a:rPr>
              <a:t>10-11кл.</a:t>
            </a:r>
            <a:endParaRPr lang="ru-RU" sz="1050" b="1" dirty="0">
              <a:latin typeface="Carlito"/>
              <a:cs typeface="Carlito"/>
            </a:endParaRPr>
          </a:p>
        </p:txBody>
      </p:sp>
      <p:pic>
        <p:nvPicPr>
          <p:cNvPr id="35" name="Picture 27" descr="https://catalog.prosv.ru/images/big/a74e7641-8ec3-11e6-b62d-0050569c7d18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4048" y="4092726"/>
            <a:ext cx="1088618" cy="1512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object 40"/>
          <p:cNvSpPr txBox="1"/>
          <p:nvPr/>
        </p:nvSpPr>
        <p:spPr>
          <a:xfrm>
            <a:off x="6674163" y="5763369"/>
            <a:ext cx="1297903" cy="203902"/>
          </a:xfrm>
          <a:prstGeom prst="rect">
            <a:avLst/>
          </a:prstGeom>
          <a:solidFill>
            <a:srgbClr val="2C3493"/>
          </a:solidFill>
        </p:spPr>
        <p:txBody>
          <a:bodyPr vert="horz" wrap="square" lIns="0" tIns="49530" rIns="0" bIns="0" rtlCol="0">
            <a:spAutoFit/>
          </a:bodyPr>
          <a:lstStyle/>
          <a:p>
            <a:pPr marL="1905">
              <a:lnSpc>
                <a:spcPct val="100000"/>
              </a:lnSpc>
              <a:spcBef>
                <a:spcPts val="390"/>
              </a:spcBef>
            </a:pPr>
            <a:r>
              <a:rPr sz="1000" b="1" spc="-5" dirty="0">
                <a:solidFill>
                  <a:srgbClr val="FFFFFF"/>
                </a:solidFill>
                <a:latin typeface="Carlito"/>
                <a:cs typeface="Carlito"/>
              </a:rPr>
              <a:t>ФП № </a:t>
            </a:r>
            <a:r>
              <a:rPr lang="ru-RU" sz="1000" b="1" spc="-10" dirty="0">
                <a:solidFill>
                  <a:srgbClr val="FFFFFF"/>
                </a:solidFill>
                <a:latin typeface="Carlito"/>
                <a:cs typeface="Carlito"/>
              </a:rPr>
              <a:t>2.1.3.1.1.1.1</a:t>
            </a:r>
            <a:endParaRPr lang="en-US" sz="1000" b="1" spc="-10" dirty="0">
              <a:solidFill>
                <a:srgbClr val="FFFFFF"/>
              </a:solidFill>
              <a:latin typeface="Carlito"/>
              <a:cs typeface="Carlito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6193472" y="3418544"/>
            <a:ext cx="2296658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" b="1" dirty="0">
                <a:solidFill>
                  <a:srgbClr val="333333"/>
                </a:solidFill>
                <a:latin typeface="Carlito"/>
              </a:rPr>
              <a:t>Курс по выбору 10-11кл.</a:t>
            </a:r>
          </a:p>
          <a:p>
            <a:pPr algn="ctr"/>
            <a:r>
              <a:rPr lang="ru-RU" sz="1050" b="1" dirty="0">
                <a:solidFill>
                  <a:srgbClr val="333333"/>
                </a:solidFill>
                <a:latin typeface="Carlito"/>
              </a:rPr>
              <a:t>Бабурин В.Л., Даньшин А.И.,</a:t>
            </a:r>
          </a:p>
          <a:p>
            <a:pPr algn="ctr"/>
            <a:r>
              <a:rPr lang="ru-RU" sz="1050" b="1" dirty="0" err="1">
                <a:solidFill>
                  <a:srgbClr val="333333"/>
                </a:solidFill>
                <a:latin typeface="Carlito"/>
              </a:rPr>
              <a:t>Елховская</a:t>
            </a:r>
            <a:r>
              <a:rPr lang="ru-RU" sz="1050" b="1" dirty="0">
                <a:solidFill>
                  <a:srgbClr val="333333"/>
                </a:solidFill>
                <a:latin typeface="Carlito"/>
              </a:rPr>
              <a:t> Л.И.</a:t>
            </a:r>
            <a:endParaRPr lang="ru-RU" sz="1050" b="1" i="0" dirty="0">
              <a:solidFill>
                <a:srgbClr val="333333"/>
              </a:solidFill>
              <a:effectLst/>
              <a:latin typeface="Carlito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437230" y="73244"/>
            <a:ext cx="2220555" cy="4062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400" b="1" dirty="0">
                <a:solidFill>
                  <a:srgbClr val="C00000"/>
                </a:solidFill>
                <a:latin typeface="Carlito"/>
                <a:ea typeface="Open Sans Condensed" pitchFamily="34" charset="0"/>
                <a:cs typeface="Open Sans Condensed" pitchFamily="34" charset="0"/>
              </a:rPr>
              <a:t>ГЕОГРАФИЯ.  </a:t>
            </a:r>
            <a:endParaRPr lang="ru-RU" sz="2400" b="1" dirty="0">
              <a:solidFill>
                <a:srgbClr val="002060"/>
              </a:solidFill>
              <a:latin typeface="Carlito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38" name="object 39"/>
          <p:cNvSpPr txBox="1"/>
          <p:nvPr/>
        </p:nvSpPr>
        <p:spPr>
          <a:xfrm>
            <a:off x="3877583" y="2863108"/>
            <a:ext cx="1339850" cy="155171"/>
          </a:xfrm>
          <a:prstGeom prst="rect">
            <a:avLst/>
          </a:prstGeom>
          <a:solidFill>
            <a:srgbClr val="2C3493"/>
          </a:solidFill>
        </p:spPr>
        <p:txBody>
          <a:bodyPr vert="horz" wrap="square" lIns="0" tIns="1270" rIns="0" bIns="0" rtlCol="0">
            <a:spAutoFit/>
          </a:bodyPr>
          <a:lstStyle/>
          <a:p>
            <a:pPr marL="199390">
              <a:lnSpc>
                <a:spcPct val="100000"/>
              </a:lnSpc>
              <a:spcBef>
                <a:spcPts val="5"/>
              </a:spcBef>
            </a:pPr>
            <a:r>
              <a:rPr sz="1000" b="1" spc="-5" dirty="0">
                <a:solidFill>
                  <a:srgbClr val="FFFFFF"/>
                </a:solidFill>
                <a:latin typeface="Carlito"/>
                <a:cs typeface="Carlito"/>
              </a:rPr>
              <a:t>ФП №</a:t>
            </a:r>
            <a:r>
              <a:rPr sz="1000" b="1" spc="210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1000" b="1" spc="-10" dirty="0">
                <a:solidFill>
                  <a:srgbClr val="FFFFFF"/>
                </a:solidFill>
                <a:latin typeface="Carlito"/>
                <a:cs typeface="Carlito"/>
              </a:rPr>
              <a:t>1.</a:t>
            </a:r>
            <a:r>
              <a:rPr lang="ru-RU" sz="1000" b="1" spc="-10" dirty="0">
                <a:solidFill>
                  <a:srgbClr val="FFFFFF"/>
                </a:solidFill>
                <a:latin typeface="Carlito"/>
                <a:cs typeface="Carlito"/>
              </a:rPr>
              <a:t>1</a:t>
            </a:r>
            <a:r>
              <a:rPr sz="1000" b="1" spc="-10" dirty="0">
                <a:solidFill>
                  <a:srgbClr val="FFFFFF"/>
                </a:solidFill>
                <a:latin typeface="Carlito"/>
                <a:cs typeface="Carlito"/>
              </a:rPr>
              <a:t>.3.3.</a:t>
            </a:r>
            <a:r>
              <a:rPr lang="ru-RU" sz="1000" b="1" spc="-10" dirty="0">
                <a:solidFill>
                  <a:srgbClr val="FFFFFF"/>
                </a:solidFill>
                <a:latin typeface="Carlito"/>
                <a:cs typeface="Carlito"/>
              </a:rPr>
              <a:t>2.</a:t>
            </a:r>
            <a:r>
              <a:rPr sz="1000" b="1" spc="-10" dirty="0">
                <a:solidFill>
                  <a:srgbClr val="FFFFFF"/>
                </a:solidFill>
                <a:latin typeface="Carlito"/>
                <a:cs typeface="Carlito"/>
              </a:rPr>
              <a:t>1.1</a:t>
            </a:r>
            <a:endParaRPr sz="1000" dirty="0">
              <a:latin typeface="Carlito"/>
              <a:cs typeface="Carlito"/>
            </a:endParaRPr>
          </a:p>
        </p:txBody>
      </p:sp>
      <p:sp>
        <p:nvSpPr>
          <p:cNvPr id="39" name="object 46"/>
          <p:cNvSpPr/>
          <p:nvPr/>
        </p:nvSpPr>
        <p:spPr>
          <a:xfrm>
            <a:off x="4037955" y="1360292"/>
            <a:ext cx="1050810" cy="1364089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1"/>
          <p:cNvSpPr txBox="1"/>
          <p:nvPr/>
        </p:nvSpPr>
        <p:spPr>
          <a:xfrm>
            <a:off x="2899423" y="873796"/>
            <a:ext cx="3231172" cy="33598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10820" marR="203835" algn="ctr">
              <a:lnSpc>
                <a:spcPct val="100000"/>
              </a:lnSpc>
              <a:spcBef>
                <a:spcPts val="100"/>
              </a:spcBef>
            </a:pPr>
            <a:r>
              <a:rPr sz="1050" b="1" spc="-5" dirty="0">
                <a:solidFill>
                  <a:srgbClr val="2E2E2E"/>
                </a:solidFill>
                <a:latin typeface="Carlito"/>
                <a:cs typeface="Carlito"/>
              </a:rPr>
              <a:t>Линия </a:t>
            </a:r>
            <a:r>
              <a:rPr sz="1050" b="1" dirty="0">
                <a:solidFill>
                  <a:srgbClr val="2E2E2E"/>
                </a:solidFill>
                <a:latin typeface="Carlito"/>
                <a:cs typeface="Carlito"/>
              </a:rPr>
              <a:t>УМК </a:t>
            </a:r>
            <a:r>
              <a:rPr sz="1050" b="1" spc="-10" dirty="0">
                <a:solidFill>
                  <a:srgbClr val="2E2E2E"/>
                </a:solidFill>
                <a:latin typeface="Carlito"/>
                <a:cs typeface="Carlito"/>
              </a:rPr>
              <a:t>«Роза </a:t>
            </a:r>
            <a:r>
              <a:rPr sz="1050" b="1" spc="-5" dirty="0">
                <a:solidFill>
                  <a:srgbClr val="2E2E2E"/>
                </a:solidFill>
                <a:latin typeface="Carlito"/>
                <a:cs typeface="Carlito"/>
              </a:rPr>
              <a:t>ветров», </a:t>
            </a:r>
            <a:r>
              <a:rPr lang="ru-RU" sz="1050" b="1" spc="-10" dirty="0">
                <a:solidFill>
                  <a:srgbClr val="2E2E2E"/>
                </a:solidFill>
                <a:latin typeface="Carlito"/>
                <a:cs typeface="Carlito"/>
              </a:rPr>
              <a:t>О.А.</a:t>
            </a:r>
            <a:r>
              <a:rPr sz="1050" b="1" spc="-5" dirty="0">
                <a:solidFill>
                  <a:srgbClr val="2E2E2E"/>
                </a:solidFill>
                <a:latin typeface="Carlito"/>
                <a:cs typeface="Carlito"/>
              </a:rPr>
              <a:t> </a:t>
            </a:r>
            <a:r>
              <a:rPr sz="1050" b="1" spc="-5" dirty="0" err="1">
                <a:solidFill>
                  <a:srgbClr val="2E2E2E"/>
                </a:solidFill>
                <a:latin typeface="Carlito"/>
                <a:cs typeface="Carlito"/>
              </a:rPr>
              <a:t>Бахчиева</a:t>
            </a:r>
            <a:endParaRPr sz="1050" b="1" dirty="0">
              <a:latin typeface="Carlito"/>
              <a:cs typeface="Carlito"/>
            </a:endParaRPr>
          </a:p>
          <a:p>
            <a:pPr algn="ctr">
              <a:lnSpc>
                <a:spcPct val="100000"/>
              </a:lnSpc>
            </a:pPr>
            <a:r>
              <a:rPr sz="1050" b="1" spc="-5" dirty="0">
                <a:solidFill>
                  <a:srgbClr val="2E2E2E"/>
                </a:solidFill>
                <a:latin typeface="Carlito"/>
                <a:cs typeface="Carlito"/>
              </a:rPr>
              <a:t>(</a:t>
            </a:r>
            <a:r>
              <a:rPr lang="ru-RU" sz="1050" b="1" spc="-5" dirty="0">
                <a:solidFill>
                  <a:srgbClr val="2E2E2E"/>
                </a:solidFill>
                <a:latin typeface="Carlito"/>
                <a:cs typeface="Carlito"/>
              </a:rPr>
              <a:t>базовый уровень</a:t>
            </a:r>
            <a:r>
              <a:rPr sz="1050" b="1" dirty="0">
                <a:solidFill>
                  <a:srgbClr val="2E2E2E"/>
                </a:solidFill>
                <a:latin typeface="Carlito"/>
                <a:cs typeface="Carlito"/>
              </a:rPr>
              <a:t>)</a:t>
            </a:r>
            <a:r>
              <a:rPr lang="ru-RU" sz="1050" b="1" dirty="0">
                <a:solidFill>
                  <a:srgbClr val="2E2E2E"/>
                </a:solidFill>
                <a:latin typeface="Carlito"/>
                <a:cs typeface="Carlito"/>
              </a:rPr>
              <a:t> ) 10-11кл.</a:t>
            </a:r>
            <a:endParaRPr sz="1050" b="1" dirty="0">
              <a:latin typeface="Carlito"/>
              <a:cs typeface="Carlito"/>
            </a:endParaRPr>
          </a:p>
        </p:txBody>
      </p:sp>
      <p:sp>
        <p:nvSpPr>
          <p:cNvPr id="41" name="object 39"/>
          <p:cNvSpPr txBox="1"/>
          <p:nvPr/>
        </p:nvSpPr>
        <p:spPr>
          <a:xfrm>
            <a:off x="1020738" y="2873405"/>
            <a:ext cx="1339850" cy="155171"/>
          </a:xfrm>
          <a:prstGeom prst="rect">
            <a:avLst/>
          </a:prstGeom>
          <a:solidFill>
            <a:srgbClr val="2C3493"/>
          </a:solidFill>
        </p:spPr>
        <p:txBody>
          <a:bodyPr vert="horz" wrap="square" lIns="0" tIns="1270" rIns="0" bIns="0" rtlCol="0">
            <a:spAutoFit/>
          </a:bodyPr>
          <a:lstStyle/>
          <a:p>
            <a:pPr marL="199390">
              <a:lnSpc>
                <a:spcPct val="100000"/>
              </a:lnSpc>
              <a:spcBef>
                <a:spcPts val="5"/>
              </a:spcBef>
            </a:pPr>
            <a:r>
              <a:rPr sz="1000" b="1" spc="-5" dirty="0">
                <a:solidFill>
                  <a:srgbClr val="FFFFFF"/>
                </a:solidFill>
                <a:latin typeface="Carlito"/>
                <a:cs typeface="Carlito"/>
              </a:rPr>
              <a:t>ФП №</a:t>
            </a:r>
            <a:r>
              <a:rPr sz="1000" b="1" spc="210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lang="ru-RU" sz="1000" b="1" spc="-10" dirty="0">
                <a:solidFill>
                  <a:srgbClr val="FFFFFF"/>
                </a:solidFill>
                <a:latin typeface="Carlito"/>
                <a:cs typeface="Carlito"/>
              </a:rPr>
              <a:t>1.1.3.3.2.7.1</a:t>
            </a:r>
            <a:endParaRPr sz="1000" dirty="0">
              <a:latin typeface="Carlito"/>
              <a:cs typeface="Carlito"/>
            </a:endParaRPr>
          </a:p>
        </p:txBody>
      </p:sp>
      <p:sp>
        <p:nvSpPr>
          <p:cNvPr id="42" name="object 29"/>
          <p:cNvSpPr txBox="1"/>
          <p:nvPr/>
        </p:nvSpPr>
        <p:spPr>
          <a:xfrm>
            <a:off x="6598499" y="2863214"/>
            <a:ext cx="1397635" cy="155171"/>
          </a:xfrm>
          <a:prstGeom prst="rect">
            <a:avLst/>
          </a:prstGeom>
          <a:solidFill>
            <a:srgbClr val="2C3493"/>
          </a:solidFill>
        </p:spPr>
        <p:txBody>
          <a:bodyPr vert="horz" wrap="square" lIns="0" tIns="1270" rIns="0" bIns="0" rtlCol="0">
            <a:spAutoFit/>
          </a:bodyPr>
          <a:lstStyle/>
          <a:p>
            <a:pPr marL="255904">
              <a:lnSpc>
                <a:spcPct val="100000"/>
              </a:lnSpc>
              <a:spcBef>
                <a:spcPts val="5"/>
              </a:spcBef>
            </a:pPr>
            <a:r>
              <a:rPr sz="1000" b="1" spc="-5" dirty="0">
                <a:solidFill>
                  <a:srgbClr val="FFFFFF"/>
                </a:solidFill>
                <a:latin typeface="Carlito"/>
                <a:cs typeface="Carlito"/>
              </a:rPr>
              <a:t>ФП</a:t>
            </a:r>
            <a:r>
              <a:rPr sz="1000" b="1" spc="-15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1000" b="1" spc="-10" dirty="0">
                <a:solidFill>
                  <a:srgbClr val="FFFFFF"/>
                </a:solidFill>
                <a:latin typeface="Carlito"/>
                <a:cs typeface="Carlito"/>
              </a:rPr>
              <a:t>№</a:t>
            </a:r>
            <a:r>
              <a:rPr lang="ru-RU" sz="1000" b="1" spc="-10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1000" b="1" spc="-10" dirty="0">
                <a:solidFill>
                  <a:srgbClr val="FFFFFF"/>
                </a:solidFill>
                <a:latin typeface="Carlito"/>
                <a:cs typeface="Carlito"/>
              </a:rPr>
              <a:t>1.</a:t>
            </a:r>
            <a:r>
              <a:rPr lang="ru-RU" sz="1000" b="1" spc="-10" dirty="0">
                <a:solidFill>
                  <a:srgbClr val="FFFFFF"/>
                </a:solidFill>
                <a:latin typeface="Carlito"/>
                <a:cs typeface="Carlito"/>
              </a:rPr>
              <a:t>1</a:t>
            </a:r>
            <a:r>
              <a:rPr sz="1000" b="1" spc="-10" dirty="0">
                <a:solidFill>
                  <a:srgbClr val="FFFFFF"/>
                </a:solidFill>
                <a:latin typeface="Carlito"/>
                <a:cs typeface="Carlito"/>
              </a:rPr>
              <a:t>.3.3.</a:t>
            </a:r>
            <a:r>
              <a:rPr lang="ru-RU" sz="1000" b="1" spc="-10" dirty="0">
                <a:solidFill>
                  <a:srgbClr val="FFFFFF"/>
                </a:solidFill>
                <a:latin typeface="Carlito"/>
                <a:cs typeface="Carlito"/>
              </a:rPr>
              <a:t>2.</a:t>
            </a:r>
            <a:r>
              <a:rPr sz="1000" b="1" spc="-10" dirty="0">
                <a:solidFill>
                  <a:srgbClr val="FFFFFF"/>
                </a:solidFill>
                <a:latin typeface="Carlito"/>
                <a:cs typeface="Carlito"/>
              </a:rPr>
              <a:t>4.1</a:t>
            </a:r>
            <a:endParaRPr sz="1000" dirty="0">
              <a:latin typeface="Carlito"/>
              <a:cs typeface="Carlito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5885368" y="882223"/>
            <a:ext cx="2875494" cy="51039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sz="1050" b="1" spc="-5" dirty="0" err="1">
                <a:solidFill>
                  <a:srgbClr val="2E2E2E"/>
                </a:solidFill>
                <a:latin typeface="Carlito"/>
                <a:cs typeface="Carlito"/>
              </a:rPr>
              <a:t>Линия</a:t>
            </a:r>
            <a:r>
              <a:rPr sz="1050" b="1" spc="15" dirty="0">
                <a:solidFill>
                  <a:srgbClr val="2E2E2E"/>
                </a:solidFill>
                <a:latin typeface="Carlito"/>
                <a:cs typeface="Carlito"/>
              </a:rPr>
              <a:t> </a:t>
            </a:r>
            <a:r>
              <a:rPr sz="1050" b="1" dirty="0">
                <a:solidFill>
                  <a:srgbClr val="2E2E2E"/>
                </a:solidFill>
                <a:latin typeface="Carlito"/>
                <a:cs typeface="Carlito"/>
              </a:rPr>
              <a:t>УМК</a:t>
            </a:r>
            <a:r>
              <a:rPr lang="ru-RU" sz="1050" b="1" dirty="0">
                <a:latin typeface="Carlito"/>
                <a:cs typeface="Carlito"/>
              </a:rPr>
              <a:t> </a:t>
            </a:r>
            <a:r>
              <a:rPr sz="1050" b="1" spc="-5" dirty="0">
                <a:solidFill>
                  <a:srgbClr val="2E2E2E"/>
                </a:solidFill>
                <a:latin typeface="Carlito"/>
                <a:cs typeface="Carlito"/>
              </a:rPr>
              <a:t> </a:t>
            </a:r>
            <a:r>
              <a:rPr lang="ru-RU" sz="1050" b="1" spc="-5" dirty="0">
                <a:solidFill>
                  <a:srgbClr val="2E2E2E"/>
                </a:solidFill>
                <a:latin typeface="Carlito"/>
                <a:cs typeface="Carlito"/>
              </a:rPr>
              <a:t>А.П. </a:t>
            </a:r>
            <a:r>
              <a:rPr sz="1050" b="1" spc="-10" dirty="0" err="1">
                <a:solidFill>
                  <a:srgbClr val="2E2E2E"/>
                </a:solidFill>
                <a:latin typeface="Carlito"/>
                <a:cs typeface="Carlito"/>
              </a:rPr>
              <a:t>Кузнецова</a:t>
            </a:r>
            <a:r>
              <a:rPr lang="ru-RU" sz="1050" b="1" spc="-10" dirty="0">
                <a:solidFill>
                  <a:srgbClr val="2E2E2E"/>
                </a:solidFill>
                <a:latin typeface="Carlito"/>
                <a:cs typeface="Carlito"/>
              </a:rPr>
              <a:t>, Э.В. </a:t>
            </a:r>
            <a:r>
              <a:rPr sz="1050" b="1" spc="-5" dirty="0" err="1">
                <a:solidFill>
                  <a:srgbClr val="2E2E2E"/>
                </a:solidFill>
                <a:latin typeface="Carlito"/>
                <a:cs typeface="Carlito"/>
              </a:rPr>
              <a:t>Ким</a:t>
            </a:r>
            <a:r>
              <a:rPr sz="1050" b="1" spc="-5" dirty="0">
                <a:solidFill>
                  <a:srgbClr val="2E2E2E"/>
                </a:solidFill>
                <a:latin typeface="Carlito"/>
                <a:cs typeface="Carlito"/>
              </a:rPr>
              <a:t> (базовый</a:t>
            </a:r>
            <a:r>
              <a:rPr sz="1050" b="1" spc="15" dirty="0">
                <a:solidFill>
                  <a:srgbClr val="2E2E2E"/>
                </a:solidFill>
                <a:latin typeface="Carlito"/>
                <a:cs typeface="Carlito"/>
              </a:rPr>
              <a:t> </a:t>
            </a:r>
            <a:r>
              <a:rPr sz="1050" b="1" spc="-5" dirty="0" err="1">
                <a:solidFill>
                  <a:srgbClr val="2E2E2E"/>
                </a:solidFill>
                <a:latin typeface="Carlito"/>
                <a:cs typeface="Carlito"/>
              </a:rPr>
              <a:t>уровень</a:t>
            </a:r>
            <a:r>
              <a:rPr lang="ru-RU" sz="1050" b="1" spc="-5" dirty="0">
                <a:solidFill>
                  <a:srgbClr val="2E2E2E"/>
                </a:solidFill>
                <a:latin typeface="Carlito"/>
                <a:cs typeface="Carlito"/>
              </a:rPr>
              <a:t>) 10-11кл.</a:t>
            </a:r>
          </a:p>
          <a:p>
            <a:pPr algn="ctr">
              <a:lnSpc>
                <a:spcPct val="100000"/>
              </a:lnSpc>
              <a:spcBef>
                <a:spcPts val="100"/>
              </a:spcBef>
            </a:pPr>
            <a:endParaRPr sz="1050" b="1" dirty="0">
              <a:latin typeface="Carlito"/>
              <a:cs typeface="Carlito"/>
            </a:endParaRPr>
          </a:p>
        </p:txBody>
      </p:sp>
      <p:sp>
        <p:nvSpPr>
          <p:cNvPr id="45" name="object 39"/>
          <p:cNvSpPr txBox="1"/>
          <p:nvPr/>
        </p:nvSpPr>
        <p:spPr>
          <a:xfrm>
            <a:off x="9317628" y="2870755"/>
            <a:ext cx="1339850" cy="155171"/>
          </a:xfrm>
          <a:prstGeom prst="rect">
            <a:avLst/>
          </a:prstGeom>
          <a:solidFill>
            <a:srgbClr val="2C3493"/>
          </a:solidFill>
        </p:spPr>
        <p:txBody>
          <a:bodyPr vert="horz" wrap="square" lIns="0" tIns="1270" rIns="0" bIns="0" rtlCol="0">
            <a:spAutoFit/>
          </a:bodyPr>
          <a:lstStyle/>
          <a:p>
            <a:pPr marL="199390">
              <a:lnSpc>
                <a:spcPct val="100000"/>
              </a:lnSpc>
              <a:spcBef>
                <a:spcPts val="5"/>
              </a:spcBef>
            </a:pPr>
            <a:r>
              <a:rPr sz="1000" b="1" spc="-5" dirty="0">
                <a:solidFill>
                  <a:srgbClr val="FFFFFF"/>
                </a:solidFill>
                <a:latin typeface="Carlito"/>
                <a:cs typeface="Carlito"/>
              </a:rPr>
              <a:t>ФП №</a:t>
            </a:r>
            <a:r>
              <a:rPr sz="1000" b="1" spc="210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lang="ru-RU" sz="1000" b="1" spc="-10" dirty="0">
                <a:solidFill>
                  <a:srgbClr val="FFFFFF"/>
                </a:solidFill>
                <a:latin typeface="Carlito"/>
                <a:cs typeface="Carlito"/>
              </a:rPr>
              <a:t>1.1.3.3.2.5.1</a:t>
            </a:r>
            <a:endParaRPr sz="1000" dirty="0">
              <a:latin typeface="Carlito"/>
              <a:cs typeface="Carlito"/>
            </a:endParaRPr>
          </a:p>
        </p:txBody>
      </p:sp>
      <p:pic>
        <p:nvPicPr>
          <p:cNvPr id="46" name="Рисунок 4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447173" y="1370589"/>
            <a:ext cx="1020449" cy="136560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47" name="object 42"/>
          <p:cNvSpPr txBox="1"/>
          <p:nvPr/>
        </p:nvSpPr>
        <p:spPr>
          <a:xfrm>
            <a:off x="3530033" y="3505441"/>
            <a:ext cx="2210157" cy="34881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52425" marR="5080" indent="-340360" algn="ctr">
              <a:lnSpc>
                <a:spcPct val="100000"/>
              </a:lnSpc>
              <a:spcBef>
                <a:spcPts val="100"/>
              </a:spcBef>
            </a:pPr>
            <a:r>
              <a:rPr sz="1050" b="1" spc="-5" dirty="0">
                <a:solidFill>
                  <a:srgbClr val="2E2E2E"/>
                </a:solidFill>
                <a:latin typeface="Carlito"/>
                <a:cs typeface="Carlito"/>
              </a:rPr>
              <a:t>Линия </a:t>
            </a:r>
            <a:r>
              <a:rPr sz="1050" b="1" dirty="0">
                <a:solidFill>
                  <a:srgbClr val="2E2E2E"/>
                </a:solidFill>
                <a:latin typeface="Carlito"/>
                <a:cs typeface="Carlito"/>
              </a:rPr>
              <a:t>УМК </a:t>
            </a:r>
            <a:r>
              <a:rPr lang="ru-RU" sz="1050" b="1" spc="-5" dirty="0">
                <a:solidFill>
                  <a:srgbClr val="2E2E2E"/>
                </a:solidFill>
                <a:latin typeface="Carlito"/>
                <a:cs typeface="Carlito"/>
              </a:rPr>
              <a:t> В.Н</a:t>
            </a:r>
            <a:r>
              <a:rPr sz="1050" b="1" spc="-5" dirty="0">
                <a:solidFill>
                  <a:srgbClr val="2E2E2E"/>
                </a:solidFill>
                <a:latin typeface="Carlito"/>
                <a:cs typeface="Carlito"/>
              </a:rPr>
              <a:t> </a:t>
            </a:r>
            <a:r>
              <a:rPr sz="1050" b="1" spc="-15" dirty="0" err="1">
                <a:solidFill>
                  <a:srgbClr val="2E2E2E"/>
                </a:solidFill>
                <a:latin typeface="Carlito"/>
                <a:cs typeface="Carlito"/>
              </a:rPr>
              <a:t>Холиной</a:t>
            </a:r>
            <a:r>
              <a:rPr sz="1050" b="1" spc="-5" dirty="0">
                <a:solidFill>
                  <a:srgbClr val="2E2E2E"/>
                </a:solidFill>
                <a:latin typeface="Carlito"/>
                <a:cs typeface="Carlito"/>
              </a:rPr>
              <a:t>. </a:t>
            </a:r>
            <a:endParaRPr lang="ru-RU" sz="1050" b="1" spc="-5" dirty="0">
              <a:solidFill>
                <a:srgbClr val="2E2E2E"/>
              </a:solidFill>
              <a:latin typeface="Carlito"/>
              <a:cs typeface="Carlito"/>
            </a:endParaRPr>
          </a:p>
          <a:p>
            <a:pPr marL="352425" marR="5080" indent="-340360" algn="ctr">
              <a:lnSpc>
                <a:spcPct val="100000"/>
              </a:lnSpc>
              <a:spcBef>
                <a:spcPts val="100"/>
              </a:spcBef>
            </a:pPr>
            <a:r>
              <a:rPr sz="1050" b="1" spc="-5" dirty="0">
                <a:solidFill>
                  <a:srgbClr val="2E2E2E"/>
                </a:solidFill>
                <a:latin typeface="Carlito"/>
                <a:cs typeface="Carlito"/>
              </a:rPr>
              <a:t> </a:t>
            </a:r>
            <a:r>
              <a:rPr sz="1050" b="1" spc="-15" dirty="0">
                <a:solidFill>
                  <a:srgbClr val="2E2E2E"/>
                </a:solidFill>
                <a:latin typeface="Carlito"/>
                <a:cs typeface="Carlito"/>
              </a:rPr>
              <a:t>(углубленный</a:t>
            </a:r>
            <a:r>
              <a:rPr sz="1050" b="1" spc="5" dirty="0">
                <a:solidFill>
                  <a:srgbClr val="2E2E2E"/>
                </a:solidFill>
                <a:latin typeface="Carlito"/>
                <a:cs typeface="Carlito"/>
              </a:rPr>
              <a:t> </a:t>
            </a:r>
            <a:r>
              <a:rPr sz="1050" b="1" spc="-5" dirty="0" err="1">
                <a:solidFill>
                  <a:srgbClr val="2E2E2E"/>
                </a:solidFill>
                <a:latin typeface="Carlito"/>
                <a:cs typeface="Carlito"/>
              </a:rPr>
              <a:t>уровень</a:t>
            </a:r>
            <a:r>
              <a:rPr sz="1050" b="1" spc="-5" dirty="0">
                <a:solidFill>
                  <a:srgbClr val="2E2E2E"/>
                </a:solidFill>
                <a:latin typeface="Carlito"/>
                <a:cs typeface="Carlito"/>
              </a:rPr>
              <a:t>)</a:t>
            </a:r>
            <a:r>
              <a:rPr lang="ru-RU" sz="1050" b="1" spc="-5" dirty="0">
                <a:solidFill>
                  <a:srgbClr val="2E2E2E"/>
                </a:solidFill>
                <a:latin typeface="Carlito"/>
                <a:cs typeface="Carlito"/>
              </a:rPr>
              <a:t> 10-11кл.</a:t>
            </a:r>
            <a:endParaRPr sz="1050" b="1" dirty="0">
              <a:latin typeface="Carlito"/>
              <a:cs typeface="Carlito"/>
            </a:endParaRPr>
          </a:p>
        </p:txBody>
      </p:sp>
      <p:sp>
        <p:nvSpPr>
          <p:cNvPr id="51" name="object 49"/>
          <p:cNvSpPr/>
          <p:nvPr/>
        </p:nvSpPr>
        <p:spPr>
          <a:xfrm>
            <a:off x="4829807" y="4108915"/>
            <a:ext cx="1020703" cy="144091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  <a:ln>
            <a:solidFill>
              <a:schemeClr val="bg1">
                <a:lumMod val="5000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52"/>
          <p:cNvSpPr/>
          <p:nvPr/>
        </p:nvSpPr>
        <p:spPr>
          <a:xfrm>
            <a:off x="3601916" y="4112799"/>
            <a:ext cx="1091434" cy="1440910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  <a:ln>
            <a:solidFill>
              <a:schemeClr val="bg1">
                <a:lumMod val="5000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40"/>
          <p:cNvSpPr txBox="1"/>
          <p:nvPr/>
        </p:nvSpPr>
        <p:spPr>
          <a:xfrm>
            <a:off x="3839435" y="5763369"/>
            <a:ext cx="1976797" cy="203902"/>
          </a:xfrm>
          <a:prstGeom prst="rect">
            <a:avLst/>
          </a:prstGeom>
          <a:solidFill>
            <a:srgbClr val="2C3493"/>
          </a:solidFill>
        </p:spPr>
        <p:txBody>
          <a:bodyPr vert="horz" wrap="square" lIns="0" tIns="49530" rIns="0" bIns="0" rtlCol="0">
            <a:spAutoFit/>
          </a:bodyPr>
          <a:lstStyle/>
          <a:p>
            <a:pPr marL="1905">
              <a:lnSpc>
                <a:spcPct val="100000"/>
              </a:lnSpc>
              <a:spcBef>
                <a:spcPts val="390"/>
              </a:spcBef>
            </a:pPr>
            <a:r>
              <a:rPr sz="1000" b="1" spc="-5" dirty="0">
                <a:solidFill>
                  <a:srgbClr val="FFFFFF"/>
                </a:solidFill>
                <a:latin typeface="Carlito"/>
                <a:cs typeface="Carlito"/>
              </a:rPr>
              <a:t>ФП № </a:t>
            </a:r>
            <a:r>
              <a:rPr sz="1000" b="1" spc="-10" dirty="0">
                <a:solidFill>
                  <a:srgbClr val="FFFFFF"/>
                </a:solidFill>
                <a:latin typeface="Carlito"/>
                <a:cs typeface="Carlito"/>
              </a:rPr>
              <a:t>1</a:t>
            </a:r>
            <a:r>
              <a:rPr lang="ru-RU" sz="1000" b="1" spc="-10" dirty="0">
                <a:solidFill>
                  <a:srgbClr val="FFFFFF"/>
                </a:solidFill>
                <a:latin typeface="Carlito"/>
                <a:cs typeface="Carlito"/>
              </a:rPr>
              <a:t>.1</a:t>
            </a:r>
            <a:r>
              <a:rPr sz="1000" b="1" spc="-10" dirty="0">
                <a:solidFill>
                  <a:srgbClr val="FFFFFF"/>
                </a:solidFill>
                <a:latin typeface="Carlito"/>
                <a:cs typeface="Carlito"/>
              </a:rPr>
              <a:t>.3.3.2.</a:t>
            </a:r>
            <a:r>
              <a:rPr lang="ru-RU" sz="1000" b="1" spc="-10" dirty="0">
                <a:solidFill>
                  <a:srgbClr val="FFFFFF"/>
                </a:solidFill>
                <a:latin typeface="Carlito"/>
                <a:cs typeface="Carlito"/>
              </a:rPr>
              <a:t>9.</a:t>
            </a:r>
            <a:r>
              <a:rPr sz="1000" b="1" spc="-10" dirty="0">
                <a:solidFill>
                  <a:srgbClr val="FFFFFF"/>
                </a:solidFill>
                <a:latin typeface="Carlito"/>
                <a:cs typeface="Carlito"/>
              </a:rPr>
              <a:t>1</a:t>
            </a:r>
            <a:r>
              <a:rPr sz="1000" b="1" spc="45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1000" b="1" spc="-5" dirty="0">
                <a:solidFill>
                  <a:srgbClr val="FFFFFF"/>
                </a:solidFill>
                <a:latin typeface="Carlito"/>
                <a:cs typeface="Carlito"/>
              </a:rPr>
              <a:t>–</a:t>
            </a:r>
            <a:r>
              <a:rPr lang="en-US" sz="1000" dirty="0">
                <a:latin typeface="Carlito"/>
                <a:cs typeface="Carlito"/>
              </a:rPr>
              <a:t> </a:t>
            </a:r>
            <a:r>
              <a:rPr sz="1000" b="1" spc="-10" dirty="0">
                <a:solidFill>
                  <a:srgbClr val="FFFFFF"/>
                </a:solidFill>
                <a:latin typeface="Carlito"/>
                <a:cs typeface="Carlito"/>
              </a:rPr>
              <a:t>1.</a:t>
            </a:r>
            <a:r>
              <a:rPr lang="ru-RU" sz="1000" b="1" spc="-10" dirty="0">
                <a:solidFill>
                  <a:srgbClr val="FFFFFF"/>
                </a:solidFill>
                <a:latin typeface="Carlito"/>
                <a:cs typeface="Carlito"/>
              </a:rPr>
              <a:t>1.</a:t>
            </a:r>
            <a:r>
              <a:rPr sz="1000" b="1" spc="-10" dirty="0">
                <a:solidFill>
                  <a:srgbClr val="FFFFFF"/>
                </a:solidFill>
                <a:latin typeface="Carlito"/>
                <a:cs typeface="Carlito"/>
              </a:rPr>
              <a:t>3.3.2.</a:t>
            </a:r>
            <a:r>
              <a:rPr lang="ru-RU" sz="1000" b="1" spc="-10" dirty="0">
                <a:solidFill>
                  <a:srgbClr val="FFFFFF"/>
                </a:solidFill>
                <a:latin typeface="Carlito"/>
                <a:cs typeface="Carlito"/>
              </a:rPr>
              <a:t>9.</a:t>
            </a:r>
            <a:r>
              <a:rPr sz="1000" b="1" spc="-10" dirty="0">
                <a:solidFill>
                  <a:srgbClr val="FFFFFF"/>
                </a:solidFill>
                <a:latin typeface="Carlito"/>
                <a:cs typeface="Carlito"/>
              </a:rPr>
              <a:t>2</a:t>
            </a:r>
            <a:endParaRPr lang="en-US" sz="1000" b="1" spc="-10" dirty="0">
              <a:solidFill>
                <a:srgbClr val="FFFFFF"/>
              </a:solidFill>
              <a:latin typeface="Carlito"/>
              <a:cs typeface="Carlito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8630999" y="3504964"/>
            <a:ext cx="3102131" cy="4154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50" b="1" dirty="0">
                <a:latin typeface="Carlito"/>
              </a:rPr>
              <a:t>Универсальное  учебное  пособие. 10-11кл.</a:t>
            </a:r>
          </a:p>
          <a:p>
            <a:r>
              <a:rPr lang="ru-RU" sz="1050" b="1" dirty="0">
                <a:latin typeface="Carlito"/>
              </a:rPr>
              <a:t> Новая географическая картина мира</a:t>
            </a:r>
            <a:endParaRPr lang="ru-RU" sz="1050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8907467" y="3504964"/>
            <a:ext cx="2730726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b="1" dirty="0">
                <a:latin typeface="Carlito"/>
              </a:rPr>
              <a:t/>
            </a:r>
            <a:br>
              <a:rPr lang="ru-RU" sz="1050" b="1" dirty="0">
                <a:latin typeface="Carlito"/>
              </a:rPr>
            </a:br>
            <a:endParaRPr lang="ru-RU" sz="1050" dirty="0">
              <a:latin typeface="Carlito"/>
            </a:endParaRPr>
          </a:p>
        </p:txBody>
      </p:sp>
      <p:pic>
        <p:nvPicPr>
          <p:cNvPr id="74754" name="Picture 2" descr="География. Базовый уровень. 10-11 классы. Учебник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6001" y="1392619"/>
            <a:ext cx="1049016" cy="1354979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Рисунок 65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2065" y="4108162"/>
            <a:ext cx="1017325" cy="1447652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7" name="Рисунок 66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6970" y="4095308"/>
            <a:ext cx="1045747" cy="147336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8" name="Скругленный прямоугольник 102">
            <a:extLst>
              <a:ext uri="{FF2B5EF4-FFF2-40B4-BE49-F238E27FC236}">
                <a16:creationId xmlns:a16="http://schemas.microsoft.com/office/drawing/2014/main" xmlns="" id="{CFBB0E25-C5D3-4A2B-BACE-6EA7AB98B489}"/>
              </a:ext>
            </a:extLst>
          </p:cNvPr>
          <p:cNvSpPr/>
          <p:nvPr/>
        </p:nvSpPr>
        <p:spPr>
          <a:xfrm>
            <a:off x="9552876" y="5809834"/>
            <a:ext cx="869354" cy="157649"/>
          </a:xfrm>
          <a:prstGeom prst="roundRect">
            <a:avLst/>
          </a:prstGeom>
          <a:solidFill>
            <a:srgbClr val="FC0652"/>
          </a:solidFill>
          <a:ln w="9525">
            <a:solidFill>
              <a:srgbClr val="FC065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НОВИНКА </a:t>
            </a:r>
          </a:p>
        </p:txBody>
      </p:sp>
      <p:pic>
        <p:nvPicPr>
          <p:cNvPr id="64" name="Рисунок 1"/>
          <p:cNvPicPr>
            <a:picLocks noChangeAspect="1"/>
          </p:cNvPicPr>
          <p:nvPr/>
        </p:nvPicPr>
        <p:blipFill>
          <a:blip r:embed="rId12"/>
          <a:stretch/>
        </p:blipFill>
        <p:spPr bwMode="auto">
          <a:xfrm>
            <a:off x="574956" y="4192025"/>
            <a:ext cx="1085554" cy="1456641"/>
          </a:xfrm>
          <a:prstGeom prst="rect">
            <a:avLst/>
          </a:prstGeom>
          <a:ln>
            <a:noFill/>
          </a:ln>
        </p:spPr>
      </p:pic>
      <p:pic>
        <p:nvPicPr>
          <p:cNvPr id="69" name="Рисунок 2"/>
          <p:cNvPicPr>
            <a:picLocks noChangeAspect="1"/>
          </p:cNvPicPr>
          <p:nvPr/>
        </p:nvPicPr>
        <p:blipFill>
          <a:blip r:embed="rId13"/>
          <a:stretch/>
        </p:blipFill>
        <p:spPr bwMode="auto">
          <a:xfrm>
            <a:off x="1879914" y="4199810"/>
            <a:ext cx="1085555" cy="1443503"/>
          </a:xfrm>
          <a:prstGeom prst="rect">
            <a:avLst/>
          </a:prstGeom>
          <a:ln>
            <a:noFill/>
          </a:ln>
        </p:spPr>
      </p:pic>
      <p:pic>
        <p:nvPicPr>
          <p:cNvPr id="70" name="Picture 7" descr="Изображение География. 10-11 классы. Базовый уровень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6049" y="1374679"/>
            <a:ext cx="1003372" cy="13559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1881631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Picture 28" descr="География 10-11 класс: контурные карты / под ред. академика РАО В.П. Дронова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1660" y="3030377"/>
            <a:ext cx="1678827" cy="2207459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47" name="Picture 4" descr="География 5 класс: контурные карты / под ред. академика РАО В.П. Дронова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206" y="3012572"/>
            <a:ext cx="1648258" cy="216993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75000"/>
              </a:schemeClr>
            </a:solidFill>
          </a:ln>
        </p:spPr>
      </p:pic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9" name="Слайд think-cell" r:id="rId7" imgW="359" imgH="360" progId="TCLayout.ActiveDocument.1">
                  <p:embed/>
                </p:oleObj>
              </mc:Choice>
              <mc:Fallback>
                <p:oleObj name="Слайд think-cell" r:id="rId7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xmlns="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11375669" y="2257824"/>
            <a:ext cx="812363" cy="754751"/>
          </a:xfrm>
          <a:prstGeom prst="rect">
            <a:avLst/>
          </a:prstGeom>
          <a:solidFill>
            <a:srgbClr val="40D4E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3"/>
          <p:cNvSpPr>
            <a:spLocks noChangeArrowheads="1"/>
          </p:cNvSpPr>
          <p:nvPr/>
        </p:nvSpPr>
        <p:spPr bwMode="auto">
          <a:xfrm>
            <a:off x="11375669" y="5276823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4"/>
          <p:cNvSpPr>
            <a:spLocks noChangeArrowheads="1"/>
          </p:cNvSpPr>
          <p:nvPr/>
        </p:nvSpPr>
        <p:spPr bwMode="auto">
          <a:xfrm>
            <a:off x="11376586" y="4522072"/>
            <a:ext cx="812363" cy="754751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17"/>
          <p:cNvSpPr>
            <a:spLocks noChangeArrowheads="1"/>
          </p:cNvSpPr>
          <p:nvPr/>
        </p:nvSpPr>
        <p:spPr bwMode="auto">
          <a:xfrm>
            <a:off x="11375670" y="-4589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19"/>
          <p:cNvSpPr>
            <a:spLocks noChangeArrowheads="1"/>
          </p:cNvSpPr>
          <p:nvPr/>
        </p:nvSpPr>
        <p:spPr bwMode="auto">
          <a:xfrm>
            <a:off x="11376586" y="3012572"/>
            <a:ext cx="812363" cy="754751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1"/>
          <p:cNvSpPr>
            <a:spLocks noChangeArrowheads="1"/>
          </p:cNvSpPr>
          <p:nvPr/>
        </p:nvSpPr>
        <p:spPr bwMode="auto">
          <a:xfrm>
            <a:off x="11376586" y="6031572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2"/>
          <p:cNvSpPr>
            <a:spLocks noChangeArrowheads="1"/>
          </p:cNvSpPr>
          <p:nvPr/>
        </p:nvSpPr>
        <p:spPr bwMode="auto">
          <a:xfrm>
            <a:off x="11375670" y="1502768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2" name="Rectangle 25"/>
          <p:cNvSpPr>
            <a:spLocks noChangeArrowheads="1"/>
          </p:cNvSpPr>
          <p:nvPr/>
        </p:nvSpPr>
        <p:spPr bwMode="auto">
          <a:xfrm>
            <a:off x="11376586" y="3767322"/>
            <a:ext cx="812363" cy="754751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29"/>
          <p:cNvSpPr>
            <a:spLocks noChangeArrowheads="1"/>
          </p:cNvSpPr>
          <p:nvPr/>
        </p:nvSpPr>
        <p:spPr bwMode="auto">
          <a:xfrm>
            <a:off x="11375670" y="748019"/>
            <a:ext cx="812363" cy="754751"/>
          </a:xfrm>
          <a:prstGeom prst="rect">
            <a:avLst/>
          </a:prstGeom>
          <a:solidFill>
            <a:srgbClr val="9ED44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2"/>
          <p:cNvSpPr>
            <a:spLocks noEditPoints="1"/>
          </p:cNvSpPr>
          <p:nvPr/>
        </p:nvSpPr>
        <p:spPr bwMode="auto">
          <a:xfrm>
            <a:off x="11600809" y="2514255"/>
            <a:ext cx="362085" cy="271895"/>
          </a:xfrm>
          <a:custGeom>
            <a:avLst/>
            <a:gdLst>
              <a:gd name="T0" fmla="*/ 787 w 859"/>
              <a:gd name="T1" fmla="*/ 107 h 644"/>
              <a:gd name="T2" fmla="*/ 787 w 859"/>
              <a:gd name="T3" fmla="*/ 573 h 644"/>
              <a:gd name="T4" fmla="*/ 537 w 859"/>
              <a:gd name="T5" fmla="*/ 573 h 644"/>
              <a:gd name="T6" fmla="*/ 465 w 859"/>
              <a:gd name="T7" fmla="*/ 644 h 644"/>
              <a:gd name="T8" fmla="*/ 859 w 859"/>
              <a:gd name="T9" fmla="*/ 644 h 644"/>
              <a:gd name="T10" fmla="*/ 859 w 859"/>
              <a:gd name="T11" fmla="*/ 107 h 644"/>
              <a:gd name="T12" fmla="*/ 787 w 859"/>
              <a:gd name="T13" fmla="*/ 107 h 644"/>
              <a:gd name="T14" fmla="*/ 476 w 859"/>
              <a:gd name="T15" fmla="*/ 476 h 644"/>
              <a:gd name="T16" fmla="*/ 383 w 859"/>
              <a:gd name="T17" fmla="*/ 476 h 644"/>
              <a:gd name="T18" fmla="*/ 373 w 859"/>
              <a:gd name="T19" fmla="*/ 465 h 644"/>
              <a:gd name="T20" fmla="*/ 179 w 859"/>
              <a:gd name="T21" fmla="*/ 465 h 644"/>
              <a:gd name="T22" fmla="*/ 179 w 859"/>
              <a:gd name="T23" fmla="*/ 71 h 644"/>
              <a:gd name="T24" fmla="*/ 344 w 859"/>
              <a:gd name="T25" fmla="*/ 71 h 644"/>
              <a:gd name="T26" fmla="*/ 393 w 859"/>
              <a:gd name="T27" fmla="*/ 96 h 644"/>
              <a:gd name="T28" fmla="*/ 393 w 859"/>
              <a:gd name="T29" fmla="*/ 358 h 644"/>
              <a:gd name="T30" fmla="*/ 465 w 859"/>
              <a:gd name="T31" fmla="*/ 358 h 644"/>
              <a:gd name="T32" fmla="*/ 465 w 859"/>
              <a:gd name="T33" fmla="*/ 96 h 644"/>
              <a:gd name="T34" fmla="*/ 515 w 859"/>
              <a:gd name="T35" fmla="*/ 71 h 644"/>
              <a:gd name="T36" fmla="*/ 680 w 859"/>
              <a:gd name="T37" fmla="*/ 71 h 644"/>
              <a:gd name="T38" fmla="*/ 680 w 859"/>
              <a:gd name="T39" fmla="*/ 465 h 644"/>
              <a:gd name="T40" fmla="*/ 486 w 859"/>
              <a:gd name="T41" fmla="*/ 465 h 644"/>
              <a:gd name="T42" fmla="*/ 476 w 859"/>
              <a:gd name="T43" fmla="*/ 476 h 644"/>
              <a:gd name="T44" fmla="*/ 752 w 859"/>
              <a:gd name="T45" fmla="*/ 537 h 644"/>
              <a:gd name="T46" fmla="*/ 752 w 859"/>
              <a:gd name="T47" fmla="*/ 0 h 644"/>
              <a:gd name="T48" fmla="*/ 486 w 859"/>
              <a:gd name="T49" fmla="*/ 0 h 644"/>
              <a:gd name="T50" fmla="*/ 476 w 859"/>
              <a:gd name="T51" fmla="*/ 10 h 644"/>
              <a:gd name="T52" fmla="*/ 383 w 859"/>
              <a:gd name="T53" fmla="*/ 10 h 644"/>
              <a:gd name="T54" fmla="*/ 373 w 859"/>
              <a:gd name="T55" fmla="*/ 0 h 644"/>
              <a:gd name="T56" fmla="*/ 107 w 859"/>
              <a:gd name="T57" fmla="*/ 0 h 644"/>
              <a:gd name="T58" fmla="*/ 107 w 859"/>
              <a:gd name="T59" fmla="*/ 537 h 644"/>
              <a:gd name="T60" fmla="*/ 344 w 859"/>
              <a:gd name="T61" fmla="*/ 537 h 644"/>
              <a:gd name="T62" fmla="*/ 429 w 859"/>
              <a:gd name="T63" fmla="*/ 566 h 644"/>
              <a:gd name="T64" fmla="*/ 515 w 859"/>
              <a:gd name="T65" fmla="*/ 537 h 644"/>
              <a:gd name="T66" fmla="*/ 752 w 859"/>
              <a:gd name="T67" fmla="*/ 537 h 644"/>
              <a:gd name="T68" fmla="*/ 71 w 859"/>
              <a:gd name="T69" fmla="*/ 573 h 644"/>
              <a:gd name="T70" fmla="*/ 71 w 859"/>
              <a:gd name="T71" fmla="*/ 107 h 644"/>
              <a:gd name="T72" fmla="*/ 0 w 859"/>
              <a:gd name="T73" fmla="*/ 107 h 644"/>
              <a:gd name="T74" fmla="*/ 0 w 859"/>
              <a:gd name="T75" fmla="*/ 644 h 644"/>
              <a:gd name="T76" fmla="*/ 394 w 859"/>
              <a:gd name="T77" fmla="*/ 644 h 644"/>
              <a:gd name="T78" fmla="*/ 322 w 859"/>
              <a:gd name="T79" fmla="*/ 573 h 644"/>
              <a:gd name="T80" fmla="*/ 71 w 859"/>
              <a:gd name="T81" fmla="*/ 573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9" h="644">
                <a:moveTo>
                  <a:pt x="787" y="107"/>
                </a:moveTo>
                <a:lnTo>
                  <a:pt x="787" y="573"/>
                </a:lnTo>
                <a:lnTo>
                  <a:pt x="537" y="573"/>
                </a:lnTo>
                <a:lnTo>
                  <a:pt x="465" y="644"/>
                </a:lnTo>
                <a:lnTo>
                  <a:pt x="859" y="644"/>
                </a:lnTo>
                <a:lnTo>
                  <a:pt x="859" y="107"/>
                </a:lnTo>
                <a:lnTo>
                  <a:pt x="787" y="107"/>
                </a:lnTo>
                <a:close/>
                <a:moveTo>
                  <a:pt x="476" y="476"/>
                </a:moveTo>
                <a:cubicBezTo>
                  <a:pt x="450" y="501"/>
                  <a:pt x="409" y="501"/>
                  <a:pt x="383" y="476"/>
                </a:cubicBezTo>
                <a:lnTo>
                  <a:pt x="373" y="465"/>
                </a:lnTo>
                <a:lnTo>
                  <a:pt x="179" y="465"/>
                </a:lnTo>
                <a:lnTo>
                  <a:pt x="179" y="71"/>
                </a:lnTo>
                <a:lnTo>
                  <a:pt x="344" y="71"/>
                </a:lnTo>
                <a:cubicBezTo>
                  <a:pt x="359" y="71"/>
                  <a:pt x="393" y="91"/>
                  <a:pt x="393" y="96"/>
                </a:cubicBezTo>
                <a:lnTo>
                  <a:pt x="393" y="358"/>
                </a:lnTo>
                <a:lnTo>
                  <a:pt x="465" y="358"/>
                </a:lnTo>
                <a:lnTo>
                  <a:pt x="465" y="96"/>
                </a:lnTo>
                <a:cubicBezTo>
                  <a:pt x="465" y="91"/>
                  <a:pt x="500" y="71"/>
                  <a:pt x="515" y="71"/>
                </a:cubicBezTo>
                <a:lnTo>
                  <a:pt x="680" y="71"/>
                </a:lnTo>
                <a:lnTo>
                  <a:pt x="680" y="465"/>
                </a:lnTo>
                <a:lnTo>
                  <a:pt x="486" y="465"/>
                </a:lnTo>
                <a:lnTo>
                  <a:pt x="476" y="476"/>
                </a:lnTo>
                <a:close/>
                <a:moveTo>
                  <a:pt x="752" y="537"/>
                </a:moveTo>
                <a:lnTo>
                  <a:pt x="752" y="0"/>
                </a:lnTo>
                <a:lnTo>
                  <a:pt x="486" y="0"/>
                </a:lnTo>
                <a:lnTo>
                  <a:pt x="476" y="10"/>
                </a:lnTo>
                <a:cubicBezTo>
                  <a:pt x="450" y="36"/>
                  <a:pt x="409" y="36"/>
                  <a:pt x="383" y="10"/>
                </a:cubicBezTo>
                <a:lnTo>
                  <a:pt x="373" y="0"/>
                </a:lnTo>
                <a:lnTo>
                  <a:pt x="107" y="0"/>
                </a:lnTo>
                <a:lnTo>
                  <a:pt x="107" y="537"/>
                </a:lnTo>
                <a:lnTo>
                  <a:pt x="344" y="537"/>
                </a:lnTo>
                <a:cubicBezTo>
                  <a:pt x="369" y="573"/>
                  <a:pt x="399" y="566"/>
                  <a:pt x="429" y="566"/>
                </a:cubicBezTo>
                <a:cubicBezTo>
                  <a:pt x="460" y="566"/>
                  <a:pt x="490" y="573"/>
                  <a:pt x="515" y="537"/>
                </a:cubicBezTo>
                <a:lnTo>
                  <a:pt x="752" y="537"/>
                </a:lnTo>
                <a:close/>
                <a:moveTo>
                  <a:pt x="71" y="573"/>
                </a:moveTo>
                <a:lnTo>
                  <a:pt x="71" y="107"/>
                </a:lnTo>
                <a:lnTo>
                  <a:pt x="0" y="107"/>
                </a:lnTo>
                <a:lnTo>
                  <a:pt x="0" y="644"/>
                </a:lnTo>
                <a:lnTo>
                  <a:pt x="394" y="644"/>
                </a:lnTo>
                <a:lnTo>
                  <a:pt x="322" y="573"/>
                </a:lnTo>
                <a:lnTo>
                  <a:pt x="71" y="5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0"/>
          <p:cNvSpPr>
            <a:spLocks noEditPoints="1"/>
          </p:cNvSpPr>
          <p:nvPr/>
        </p:nvSpPr>
        <p:spPr bwMode="auto">
          <a:xfrm>
            <a:off x="11601728" y="1744503"/>
            <a:ext cx="360248" cy="301287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8" name="Freeform 41"/>
          <p:cNvSpPr>
            <a:spLocks/>
          </p:cNvSpPr>
          <p:nvPr/>
        </p:nvSpPr>
        <p:spPr bwMode="auto">
          <a:xfrm>
            <a:off x="11600809" y="4756459"/>
            <a:ext cx="362085" cy="315984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69" name="Группа 68"/>
          <p:cNvGrpSpPr/>
          <p:nvPr/>
        </p:nvGrpSpPr>
        <p:grpSpPr>
          <a:xfrm>
            <a:off x="11614594" y="200960"/>
            <a:ext cx="334516" cy="361915"/>
            <a:chOff x="477468" y="2705515"/>
            <a:chExt cx="409903" cy="443477"/>
          </a:xfrm>
        </p:grpSpPr>
        <p:sp>
          <p:nvSpPr>
            <p:cNvPr id="70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1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72" name="Freeform 44"/>
          <p:cNvSpPr>
            <a:spLocks noEditPoints="1"/>
          </p:cNvSpPr>
          <p:nvPr/>
        </p:nvSpPr>
        <p:spPr bwMode="auto">
          <a:xfrm>
            <a:off x="11606322" y="5464056"/>
            <a:ext cx="351059" cy="380284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3" name="Freeform 45"/>
          <p:cNvSpPr>
            <a:spLocks noEditPoints="1"/>
          </p:cNvSpPr>
          <p:nvPr/>
        </p:nvSpPr>
        <p:spPr bwMode="auto">
          <a:xfrm>
            <a:off x="11601728" y="966788"/>
            <a:ext cx="360248" cy="347216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89" name="Freeform 46"/>
          <p:cNvSpPr>
            <a:spLocks noEditPoints="1"/>
          </p:cNvSpPr>
          <p:nvPr/>
        </p:nvSpPr>
        <p:spPr bwMode="auto">
          <a:xfrm>
            <a:off x="11655949" y="3977824"/>
            <a:ext cx="251807" cy="363751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5" name="Freeform 52"/>
          <p:cNvSpPr>
            <a:spLocks noEditPoints="1"/>
          </p:cNvSpPr>
          <p:nvPr/>
        </p:nvSpPr>
        <p:spPr bwMode="auto">
          <a:xfrm>
            <a:off x="11605404" y="3223075"/>
            <a:ext cx="352896" cy="36375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Freeform 53"/>
          <p:cNvSpPr>
            <a:spLocks noEditPoints="1"/>
          </p:cNvSpPr>
          <p:nvPr/>
        </p:nvSpPr>
        <p:spPr bwMode="auto">
          <a:xfrm>
            <a:off x="11594376" y="6260448"/>
            <a:ext cx="374952" cy="327005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115" name="AutoShape 4"/>
          <p:cNvSpPr>
            <a:spLocks noChangeAspect="1" noChangeArrowheads="1" noTextEdit="1"/>
          </p:cNvSpPr>
          <p:nvPr/>
        </p:nvSpPr>
        <p:spPr bwMode="auto">
          <a:xfrm>
            <a:off x="5844301" y="1808388"/>
            <a:ext cx="918665" cy="317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79" name="Группа 78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80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3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4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5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6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7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8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0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1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2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3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4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2135334" y="155391"/>
            <a:ext cx="55509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002060"/>
                </a:solidFill>
                <a:latin typeface="Carlito"/>
              </a:rPr>
              <a:t>АТЛАСЫ И КОНТУРНЫЕ КАРТЫ</a:t>
            </a:r>
            <a:endParaRPr lang="ru-RU" sz="2400" dirty="0">
              <a:solidFill>
                <a:srgbClr val="002060"/>
              </a:solidFill>
              <a:latin typeface="Carlito"/>
            </a:endParaRPr>
          </a:p>
        </p:txBody>
      </p: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1" name="Picture 26" descr="География 10-11 класс: атлас / под ред. академика РАО В.П. Дронова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7679" y="1188939"/>
            <a:ext cx="1839133" cy="242011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3" name="Прямоугольник 2"/>
          <p:cNvSpPr/>
          <p:nvPr/>
        </p:nvSpPr>
        <p:spPr>
          <a:xfrm>
            <a:off x="5844301" y="2861875"/>
            <a:ext cx="4952363" cy="28931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dirty="0"/>
              <a:t>Подходят ко всем УМК по географии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dirty="0"/>
              <a:t>рекомендованы для подготовки к ВПР, ОГЭ, ЕГЭ и при  подготовке к предметным олимпиадам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/>
              <a:t>Соответствуют</a:t>
            </a:r>
            <a:r>
              <a:rPr lang="ru-RU" dirty="0"/>
              <a:t> ФГОС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altLang="ru-RU" dirty="0"/>
              <a:t>Атласы и контурные карты использовались РГО на Всероссийском географическом диктанте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dirty="0"/>
          </a:p>
        </p:txBody>
      </p:sp>
      <p:sp>
        <p:nvSpPr>
          <p:cNvPr id="97" name="Прямоугольник 96"/>
          <p:cNvSpPr/>
          <p:nvPr/>
        </p:nvSpPr>
        <p:spPr>
          <a:xfrm>
            <a:off x="5779013" y="1490885"/>
            <a:ext cx="507462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 dirty="0">
                <a:solidFill>
                  <a:srgbClr val="002060"/>
                </a:solidFill>
                <a:latin typeface="Carlito"/>
                <a:ea typeface="Cambria Math" pitchFamily="18" charset="0"/>
                <a:cs typeface="Times New Roman" pitchFamily="18" charset="0"/>
              </a:rPr>
              <a:t>Атласы и контурные карты прошли рецензирование и получили рекомендацию РГО. </a:t>
            </a:r>
          </a:p>
          <a:p>
            <a:pPr algn="just"/>
            <a:endParaRPr lang="ru-RU" dirty="0">
              <a:latin typeface="Times New Roman" pitchFamily="18" charset="0"/>
              <a:ea typeface="Cambria Math" pitchFamily="18" charset="0"/>
              <a:cs typeface="Times New Roman" pitchFamily="18" charset="0"/>
            </a:endParaRPr>
          </a:p>
        </p:txBody>
      </p:sp>
      <p:pic>
        <p:nvPicPr>
          <p:cNvPr id="98" name="Рисунок 97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771181" y="748301"/>
            <a:ext cx="895650" cy="675858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7086500" y="259182"/>
            <a:ext cx="389677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0070C0"/>
                </a:solidFill>
                <a:latin typeface="Carlito"/>
              </a:rPr>
              <a:t>«БИНОМ. Лаборатория знаний» </a:t>
            </a:r>
            <a:endParaRPr lang="ru-RU" dirty="0"/>
          </a:p>
        </p:txBody>
      </p:sp>
      <p:cxnSp>
        <p:nvCxnSpPr>
          <p:cNvPr id="63" name="Прямая соединительная линия 62"/>
          <p:cNvCxnSpPr/>
          <p:nvPr/>
        </p:nvCxnSpPr>
        <p:spPr>
          <a:xfrm>
            <a:off x="1674328" y="604268"/>
            <a:ext cx="9701341" cy="15932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4" name="Picture 2" descr="География 5 класс: атлас / под ред. академика РАО В.П. Дронова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397" y="1187826"/>
            <a:ext cx="1850451" cy="2420111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78427502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3994" name="Picture 26" descr="География. 10-11 классы. Контурные карты (Учись быть первым!)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8426" y="2650202"/>
            <a:ext cx="1892039" cy="250695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42"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xmlns="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11375669" y="2257824"/>
            <a:ext cx="812363" cy="754751"/>
          </a:xfrm>
          <a:prstGeom prst="rect">
            <a:avLst/>
          </a:prstGeom>
          <a:solidFill>
            <a:srgbClr val="40D4E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3"/>
          <p:cNvSpPr>
            <a:spLocks noChangeArrowheads="1"/>
          </p:cNvSpPr>
          <p:nvPr/>
        </p:nvSpPr>
        <p:spPr bwMode="auto">
          <a:xfrm>
            <a:off x="11375669" y="5276823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4"/>
          <p:cNvSpPr>
            <a:spLocks noChangeArrowheads="1"/>
          </p:cNvSpPr>
          <p:nvPr/>
        </p:nvSpPr>
        <p:spPr bwMode="auto">
          <a:xfrm>
            <a:off x="11376586" y="4522072"/>
            <a:ext cx="812363" cy="754751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17"/>
          <p:cNvSpPr>
            <a:spLocks noChangeArrowheads="1"/>
          </p:cNvSpPr>
          <p:nvPr/>
        </p:nvSpPr>
        <p:spPr bwMode="auto">
          <a:xfrm>
            <a:off x="11375670" y="-4589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19"/>
          <p:cNvSpPr>
            <a:spLocks noChangeArrowheads="1"/>
          </p:cNvSpPr>
          <p:nvPr/>
        </p:nvSpPr>
        <p:spPr bwMode="auto">
          <a:xfrm>
            <a:off x="11376586" y="3012572"/>
            <a:ext cx="812363" cy="754751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1"/>
          <p:cNvSpPr>
            <a:spLocks noChangeArrowheads="1"/>
          </p:cNvSpPr>
          <p:nvPr/>
        </p:nvSpPr>
        <p:spPr bwMode="auto">
          <a:xfrm>
            <a:off x="11376586" y="6031572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2"/>
          <p:cNvSpPr>
            <a:spLocks noChangeArrowheads="1"/>
          </p:cNvSpPr>
          <p:nvPr/>
        </p:nvSpPr>
        <p:spPr bwMode="auto">
          <a:xfrm>
            <a:off x="11375670" y="1502768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2" name="Rectangle 25"/>
          <p:cNvSpPr>
            <a:spLocks noChangeArrowheads="1"/>
          </p:cNvSpPr>
          <p:nvPr/>
        </p:nvSpPr>
        <p:spPr bwMode="auto">
          <a:xfrm>
            <a:off x="11376586" y="3767322"/>
            <a:ext cx="812363" cy="754751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29"/>
          <p:cNvSpPr>
            <a:spLocks noChangeArrowheads="1"/>
          </p:cNvSpPr>
          <p:nvPr/>
        </p:nvSpPr>
        <p:spPr bwMode="auto">
          <a:xfrm>
            <a:off x="11375670" y="748019"/>
            <a:ext cx="812363" cy="754751"/>
          </a:xfrm>
          <a:prstGeom prst="rect">
            <a:avLst/>
          </a:prstGeom>
          <a:solidFill>
            <a:srgbClr val="9ED44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2"/>
          <p:cNvSpPr>
            <a:spLocks noEditPoints="1"/>
          </p:cNvSpPr>
          <p:nvPr/>
        </p:nvSpPr>
        <p:spPr bwMode="auto">
          <a:xfrm>
            <a:off x="11600809" y="2514255"/>
            <a:ext cx="362085" cy="271895"/>
          </a:xfrm>
          <a:custGeom>
            <a:avLst/>
            <a:gdLst>
              <a:gd name="T0" fmla="*/ 787 w 859"/>
              <a:gd name="T1" fmla="*/ 107 h 644"/>
              <a:gd name="T2" fmla="*/ 787 w 859"/>
              <a:gd name="T3" fmla="*/ 573 h 644"/>
              <a:gd name="T4" fmla="*/ 537 w 859"/>
              <a:gd name="T5" fmla="*/ 573 h 644"/>
              <a:gd name="T6" fmla="*/ 465 w 859"/>
              <a:gd name="T7" fmla="*/ 644 h 644"/>
              <a:gd name="T8" fmla="*/ 859 w 859"/>
              <a:gd name="T9" fmla="*/ 644 h 644"/>
              <a:gd name="T10" fmla="*/ 859 w 859"/>
              <a:gd name="T11" fmla="*/ 107 h 644"/>
              <a:gd name="T12" fmla="*/ 787 w 859"/>
              <a:gd name="T13" fmla="*/ 107 h 644"/>
              <a:gd name="T14" fmla="*/ 476 w 859"/>
              <a:gd name="T15" fmla="*/ 476 h 644"/>
              <a:gd name="T16" fmla="*/ 383 w 859"/>
              <a:gd name="T17" fmla="*/ 476 h 644"/>
              <a:gd name="T18" fmla="*/ 373 w 859"/>
              <a:gd name="T19" fmla="*/ 465 h 644"/>
              <a:gd name="T20" fmla="*/ 179 w 859"/>
              <a:gd name="T21" fmla="*/ 465 h 644"/>
              <a:gd name="T22" fmla="*/ 179 w 859"/>
              <a:gd name="T23" fmla="*/ 71 h 644"/>
              <a:gd name="T24" fmla="*/ 344 w 859"/>
              <a:gd name="T25" fmla="*/ 71 h 644"/>
              <a:gd name="T26" fmla="*/ 393 w 859"/>
              <a:gd name="T27" fmla="*/ 96 h 644"/>
              <a:gd name="T28" fmla="*/ 393 w 859"/>
              <a:gd name="T29" fmla="*/ 358 h 644"/>
              <a:gd name="T30" fmla="*/ 465 w 859"/>
              <a:gd name="T31" fmla="*/ 358 h 644"/>
              <a:gd name="T32" fmla="*/ 465 w 859"/>
              <a:gd name="T33" fmla="*/ 96 h 644"/>
              <a:gd name="T34" fmla="*/ 515 w 859"/>
              <a:gd name="T35" fmla="*/ 71 h 644"/>
              <a:gd name="T36" fmla="*/ 680 w 859"/>
              <a:gd name="T37" fmla="*/ 71 h 644"/>
              <a:gd name="T38" fmla="*/ 680 w 859"/>
              <a:gd name="T39" fmla="*/ 465 h 644"/>
              <a:gd name="T40" fmla="*/ 486 w 859"/>
              <a:gd name="T41" fmla="*/ 465 h 644"/>
              <a:gd name="T42" fmla="*/ 476 w 859"/>
              <a:gd name="T43" fmla="*/ 476 h 644"/>
              <a:gd name="T44" fmla="*/ 752 w 859"/>
              <a:gd name="T45" fmla="*/ 537 h 644"/>
              <a:gd name="T46" fmla="*/ 752 w 859"/>
              <a:gd name="T47" fmla="*/ 0 h 644"/>
              <a:gd name="T48" fmla="*/ 486 w 859"/>
              <a:gd name="T49" fmla="*/ 0 h 644"/>
              <a:gd name="T50" fmla="*/ 476 w 859"/>
              <a:gd name="T51" fmla="*/ 10 h 644"/>
              <a:gd name="T52" fmla="*/ 383 w 859"/>
              <a:gd name="T53" fmla="*/ 10 h 644"/>
              <a:gd name="T54" fmla="*/ 373 w 859"/>
              <a:gd name="T55" fmla="*/ 0 h 644"/>
              <a:gd name="T56" fmla="*/ 107 w 859"/>
              <a:gd name="T57" fmla="*/ 0 h 644"/>
              <a:gd name="T58" fmla="*/ 107 w 859"/>
              <a:gd name="T59" fmla="*/ 537 h 644"/>
              <a:gd name="T60" fmla="*/ 344 w 859"/>
              <a:gd name="T61" fmla="*/ 537 h 644"/>
              <a:gd name="T62" fmla="*/ 429 w 859"/>
              <a:gd name="T63" fmla="*/ 566 h 644"/>
              <a:gd name="T64" fmla="*/ 515 w 859"/>
              <a:gd name="T65" fmla="*/ 537 h 644"/>
              <a:gd name="T66" fmla="*/ 752 w 859"/>
              <a:gd name="T67" fmla="*/ 537 h 644"/>
              <a:gd name="T68" fmla="*/ 71 w 859"/>
              <a:gd name="T69" fmla="*/ 573 h 644"/>
              <a:gd name="T70" fmla="*/ 71 w 859"/>
              <a:gd name="T71" fmla="*/ 107 h 644"/>
              <a:gd name="T72" fmla="*/ 0 w 859"/>
              <a:gd name="T73" fmla="*/ 107 h 644"/>
              <a:gd name="T74" fmla="*/ 0 w 859"/>
              <a:gd name="T75" fmla="*/ 644 h 644"/>
              <a:gd name="T76" fmla="*/ 394 w 859"/>
              <a:gd name="T77" fmla="*/ 644 h 644"/>
              <a:gd name="T78" fmla="*/ 322 w 859"/>
              <a:gd name="T79" fmla="*/ 573 h 644"/>
              <a:gd name="T80" fmla="*/ 71 w 859"/>
              <a:gd name="T81" fmla="*/ 573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9" h="644">
                <a:moveTo>
                  <a:pt x="787" y="107"/>
                </a:moveTo>
                <a:lnTo>
                  <a:pt x="787" y="573"/>
                </a:lnTo>
                <a:lnTo>
                  <a:pt x="537" y="573"/>
                </a:lnTo>
                <a:lnTo>
                  <a:pt x="465" y="644"/>
                </a:lnTo>
                <a:lnTo>
                  <a:pt x="859" y="644"/>
                </a:lnTo>
                <a:lnTo>
                  <a:pt x="859" y="107"/>
                </a:lnTo>
                <a:lnTo>
                  <a:pt x="787" y="107"/>
                </a:lnTo>
                <a:close/>
                <a:moveTo>
                  <a:pt x="476" y="476"/>
                </a:moveTo>
                <a:cubicBezTo>
                  <a:pt x="450" y="501"/>
                  <a:pt x="409" y="501"/>
                  <a:pt x="383" y="476"/>
                </a:cubicBezTo>
                <a:lnTo>
                  <a:pt x="373" y="465"/>
                </a:lnTo>
                <a:lnTo>
                  <a:pt x="179" y="465"/>
                </a:lnTo>
                <a:lnTo>
                  <a:pt x="179" y="71"/>
                </a:lnTo>
                <a:lnTo>
                  <a:pt x="344" y="71"/>
                </a:lnTo>
                <a:cubicBezTo>
                  <a:pt x="359" y="71"/>
                  <a:pt x="393" y="91"/>
                  <a:pt x="393" y="96"/>
                </a:cubicBezTo>
                <a:lnTo>
                  <a:pt x="393" y="358"/>
                </a:lnTo>
                <a:lnTo>
                  <a:pt x="465" y="358"/>
                </a:lnTo>
                <a:lnTo>
                  <a:pt x="465" y="96"/>
                </a:lnTo>
                <a:cubicBezTo>
                  <a:pt x="465" y="91"/>
                  <a:pt x="500" y="71"/>
                  <a:pt x="515" y="71"/>
                </a:cubicBezTo>
                <a:lnTo>
                  <a:pt x="680" y="71"/>
                </a:lnTo>
                <a:lnTo>
                  <a:pt x="680" y="465"/>
                </a:lnTo>
                <a:lnTo>
                  <a:pt x="486" y="465"/>
                </a:lnTo>
                <a:lnTo>
                  <a:pt x="476" y="476"/>
                </a:lnTo>
                <a:close/>
                <a:moveTo>
                  <a:pt x="752" y="537"/>
                </a:moveTo>
                <a:lnTo>
                  <a:pt x="752" y="0"/>
                </a:lnTo>
                <a:lnTo>
                  <a:pt x="486" y="0"/>
                </a:lnTo>
                <a:lnTo>
                  <a:pt x="476" y="10"/>
                </a:lnTo>
                <a:cubicBezTo>
                  <a:pt x="450" y="36"/>
                  <a:pt x="409" y="36"/>
                  <a:pt x="383" y="10"/>
                </a:cubicBezTo>
                <a:lnTo>
                  <a:pt x="373" y="0"/>
                </a:lnTo>
                <a:lnTo>
                  <a:pt x="107" y="0"/>
                </a:lnTo>
                <a:lnTo>
                  <a:pt x="107" y="537"/>
                </a:lnTo>
                <a:lnTo>
                  <a:pt x="344" y="537"/>
                </a:lnTo>
                <a:cubicBezTo>
                  <a:pt x="369" y="573"/>
                  <a:pt x="399" y="566"/>
                  <a:pt x="429" y="566"/>
                </a:cubicBezTo>
                <a:cubicBezTo>
                  <a:pt x="460" y="566"/>
                  <a:pt x="490" y="573"/>
                  <a:pt x="515" y="537"/>
                </a:cubicBezTo>
                <a:lnTo>
                  <a:pt x="752" y="537"/>
                </a:lnTo>
                <a:close/>
                <a:moveTo>
                  <a:pt x="71" y="573"/>
                </a:moveTo>
                <a:lnTo>
                  <a:pt x="71" y="107"/>
                </a:lnTo>
                <a:lnTo>
                  <a:pt x="0" y="107"/>
                </a:lnTo>
                <a:lnTo>
                  <a:pt x="0" y="644"/>
                </a:lnTo>
                <a:lnTo>
                  <a:pt x="394" y="644"/>
                </a:lnTo>
                <a:lnTo>
                  <a:pt x="322" y="573"/>
                </a:lnTo>
                <a:lnTo>
                  <a:pt x="71" y="5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0"/>
          <p:cNvSpPr>
            <a:spLocks noEditPoints="1"/>
          </p:cNvSpPr>
          <p:nvPr/>
        </p:nvSpPr>
        <p:spPr bwMode="auto">
          <a:xfrm>
            <a:off x="11601728" y="1744503"/>
            <a:ext cx="360248" cy="301287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8" name="Freeform 41"/>
          <p:cNvSpPr>
            <a:spLocks/>
          </p:cNvSpPr>
          <p:nvPr/>
        </p:nvSpPr>
        <p:spPr bwMode="auto">
          <a:xfrm>
            <a:off x="11600809" y="4756459"/>
            <a:ext cx="362085" cy="315984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69" name="Группа 68"/>
          <p:cNvGrpSpPr/>
          <p:nvPr/>
        </p:nvGrpSpPr>
        <p:grpSpPr>
          <a:xfrm>
            <a:off x="11614594" y="200960"/>
            <a:ext cx="334516" cy="361915"/>
            <a:chOff x="477468" y="2705515"/>
            <a:chExt cx="409903" cy="443477"/>
          </a:xfrm>
        </p:grpSpPr>
        <p:sp>
          <p:nvSpPr>
            <p:cNvPr id="70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1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72" name="Freeform 44"/>
          <p:cNvSpPr>
            <a:spLocks noEditPoints="1"/>
          </p:cNvSpPr>
          <p:nvPr/>
        </p:nvSpPr>
        <p:spPr bwMode="auto">
          <a:xfrm>
            <a:off x="11606322" y="5464056"/>
            <a:ext cx="351059" cy="380284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3" name="Freeform 45"/>
          <p:cNvSpPr>
            <a:spLocks noEditPoints="1"/>
          </p:cNvSpPr>
          <p:nvPr/>
        </p:nvSpPr>
        <p:spPr bwMode="auto">
          <a:xfrm>
            <a:off x="11601728" y="966788"/>
            <a:ext cx="360248" cy="347216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89" name="Freeform 46"/>
          <p:cNvSpPr>
            <a:spLocks noEditPoints="1"/>
          </p:cNvSpPr>
          <p:nvPr/>
        </p:nvSpPr>
        <p:spPr bwMode="auto">
          <a:xfrm>
            <a:off x="11655949" y="3977824"/>
            <a:ext cx="251807" cy="363751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5" name="Freeform 52"/>
          <p:cNvSpPr>
            <a:spLocks noEditPoints="1"/>
          </p:cNvSpPr>
          <p:nvPr/>
        </p:nvSpPr>
        <p:spPr bwMode="auto">
          <a:xfrm>
            <a:off x="11605404" y="3223075"/>
            <a:ext cx="352896" cy="36375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Freeform 53"/>
          <p:cNvSpPr>
            <a:spLocks noEditPoints="1"/>
          </p:cNvSpPr>
          <p:nvPr/>
        </p:nvSpPr>
        <p:spPr bwMode="auto">
          <a:xfrm>
            <a:off x="11594376" y="6260448"/>
            <a:ext cx="374952" cy="327005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115" name="AutoShape 4"/>
          <p:cNvSpPr>
            <a:spLocks noChangeAspect="1" noChangeArrowheads="1" noTextEdit="1"/>
          </p:cNvSpPr>
          <p:nvPr/>
        </p:nvSpPr>
        <p:spPr bwMode="auto">
          <a:xfrm>
            <a:off x="5844301" y="1808388"/>
            <a:ext cx="918665" cy="317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79" name="Группа 78"/>
          <p:cNvGrpSpPr/>
          <p:nvPr/>
        </p:nvGrpSpPr>
        <p:grpSpPr>
          <a:xfrm>
            <a:off x="137987" y="181425"/>
            <a:ext cx="1361566" cy="566594"/>
            <a:chOff x="254665" y="195486"/>
            <a:chExt cx="951720" cy="329081"/>
          </a:xfrm>
        </p:grpSpPr>
        <p:sp>
          <p:nvSpPr>
            <p:cNvPr id="80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3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4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5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6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7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8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0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1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2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3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4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1738476" y="114656"/>
            <a:ext cx="92081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002060"/>
                </a:solidFill>
                <a:latin typeface="Carlito"/>
              </a:rPr>
              <a:t>АТЛАСЫ И КОНТУРНЫЕ КАРТЫ «Учись быть первым!»</a:t>
            </a:r>
          </a:p>
        </p:txBody>
      </p: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494785"/>
            <a:ext cx="4421068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6096000" y="1581411"/>
            <a:ext cx="4619348" cy="30931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dirty="0"/>
              <a:t>Обеспечивает преемственность всех уровней образования, позволяет реализовать комплексный подход в изучении географии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dirty="0"/>
              <a:t>Рекомендованы для подготовки к ВПР, ОГЭ, ЕГЭ и при  подготовке к предметным олимпиадам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dirty="0"/>
              <a:t>Соответствуют ФГОС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/>
              <a:t>Могут</a:t>
            </a:r>
            <a:r>
              <a:rPr lang="ru-RU" dirty="0"/>
              <a:t> быть использованы со всеми действующими учебниками</a:t>
            </a:r>
          </a:p>
        </p:txBody>
      </p:sp>
      <p:pic>
        <p:nvPicPr>
          <p:cNvPr id="76" name="Picture 10" descr="География. 5 класс. Контурные карты (Учись быть первым!)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0853" y="2674619"/>
            <a:ext cx="1892038" cy="250695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992" name="Picture 24" descr="География. 10-11 классы. Атлас (Учись быть первым!)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4780" y="1258703"/>
            <a:ext cx="1876096" cy="2485825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7" name="Picture 8" descr="География. 5 класс. Атлас. (Учись быть первым!)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058" y="1281658"/>
            <a:ext cx="1889953" cy="2504188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0" name="Прямая соединительная линия 49"/>
          <p:cNvCxnSpPr/>
          <p:nvPr/>
        </p:nvCxnSpPr>
        <p:spPr>
          <a:xfrm>
            <a:off x="1619121" y="580919"/>
            <a:ext cx="9756548" cy="39281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9322473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67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xmlns="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11375669" y="2257824"/>
            <a:ext cx="812363" cy="754751"/>
          </a:xfrm>
          <a:prstGeom prst="rect">
            <a:avLst/>
          </a:prstGeom>
          <a:solidFill>
            <a:srgbClr val="40D4E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3"/>
          <p:cNvSpPr>
            <a:spLocks noChangeArrowheads="1"/>
          </p:cNvSpPr>
          <p:nvPr/>
        </p:nvSpPr>
        <p:spPr bwMode="auto">
          <a:xfrm>
            <a:off x="11375669" y="5276823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4"/>
          <p:cNvSpPr>
            <a:spLocks noChangeArrowheads="1"/>
          </p:cNvSpPr>
          <p:nvPr/>
        </p:nvSpPr>
        <p:spPr bwMode="auto">
          <a:xfrm>
            <a:off x="11376586" y="4522072"/>
            <a:ext cx="812363" cy="754751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17"/>
          <p:cNvSpPr>
            <a:spLocks noChangeArrowheads="1"/>
          </p:cNvSpPr>
          <p:nvPr/>
        </p:nvSpPr>
        <p:spPr bwMode="auto">
          <a:xfrm>
            <a:off x="11375670" y="-4589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19"/>
          <p:cNvSpPr>
            <a:spLocks noChangeArrowheads="1"/>
          </p:cNvSpPr>
          <p:nvPr/>
        </p:nvSpPr>
        <p:spPr bwMode="auto">
          <a:xfrm>
            <a:off x="11376586" y="3012572"/>
            <a:ext cx="812363" cy="754751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1"/>
          <p:cNvSpPr>
            <a:spLocks noChangeArrowheads="1"/>
          </p:cNvSpPr>
          <p:nvPr/>
        </p:nvSpPr>
        <p:spPr bwMode="auto">
          <a:xfrm>
            <a:off x="11376586" y="6031572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2"/>
          <p:cNvSpPr>
            <a:spLocks noChangeArrowheads="1"/>
          </p:cNvSpPr>
          <p:nvPr/>
        </p:nvSpPr>
        <p:spPr bwMode="auto">
          <a:xfrm>
            <a:off x="11375670" y="1502768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2" name="Rectangle 25"/>
          <p:cNvSpPr>
            <a:spLocks noChangeArrowheads="1"/>
          </p:cNvSpPr>
          <p:nvPr/>
        </p:nvSpPr>
        <p:spPr bwMode="auto">
          <a:xfrm>
            <a:off x="11376586" y="3767322"/>
            <a:ext cx="812363" cy="754751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29"/>
          <p:cNvSpPr>
            <a:spLocks noChangeArrowheads="1"/>
          </p:cNvSpPr>
          <p:nvPr/>
        </p:nvSpPr>
        <p:spPr bwMode="auto">
          <a:xfrm>
            <a:off x="11375670" y="748019"/>
            <a:ext cx="812363" cy="754751"/>
          </a:xfrm>
          <a:prstGeom prst="rect">
            <a:avLst/>
          </a:prstGeom>
          <a:solidFill>
            <a:srgbClr val="9ED44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2"/>
          <p:cNvSpPr>
            <a:spLocks noEditPoints="1"/>
          </p:cNvSpPr>
          <p:nvPr/>
        </p:nvSpPr>
        <p:spPr bwMode="auto">
          <a:xfrm>
            <a:off x="11600809" y="2514255"/>
            <a:ext cx="362085" cy="271895"/>
          </a:xfrm>
          <a:custGeom>
            <a:avLst/>
            <a:gdLst>
              <a:gd name="T0" fmla="*/ 787 w 859"/>
              <a:gd name="T1" fmla="*/ 107 h 644"/>
              <a:gd name="T2" fmla="*/ 787 w 859"/>
              <a:gd name="T3" fmla="*/ 573 h 644"/>
              <a:gd name="T4" fmla="*/ 537 w 859"/>
              <a:gd name="T5" fmla="*/ 573 h 644"/>
              <a:gd name="T6" fmla="*/ 465 w 859"/>
              <a:gd name="T7" fmla="*/ 644 h 644"/>
              <a:gd name="T8" fmla="*/ 859 w 859"/>
              <a:gd name="T9" fmla="*/ 644 h 644"/>
              <a:gd name="T10" fmla="*/ 859 w 859"/>
              <a:gd name="T11" fmla="*/ 107 h 644"/>
              <a:gd name="T12" fmla="*/ 787 w 859"/>
              <a:gd name="T13" fmla="*/ 107 h 644"/>
              <a:gd name="T14" fmla="*/ 476 w 859"/>
              <a:gd name="T15" fmla="*/ 476 h 644"/>
              <a:gd name="T16" fmla="*/ 383 w 859"/>
              <a:gd name="T17" fmla="*/ 476 h 644"/>
              <a:gd name="T18" fmla="*/ 373 w 859"/>
              <a:gd name="T19" fmla="*/ 465 h 644"/>
              <a:gd name="T20" fmla="*/ 179 w 859"/>
              <a:gd name="T21" fmla="*/ 465 h 644"/>
              <a:gd name="T22" fmla="*/ 179 w 859"/>
              <a:gd name="T23" fmla="*/ 71 h 644"/>
              <a:gd name="T24" fmla="*/ 344 w 859"/>
              <a:gd name="T25" fmla="*/ 71 h 644"/>
              <a:gd name="T26" fmla="*/ 393 w 859"/>
              <a:gd name="T27" fmla="*/ 96 h 644"/>
              <a:gd name="T28" fmla="*/ 393 w 859"/>
              <a:gd name="T29" fmla="*/ 358 h 644"/>
              <a:gd name="T30" fmla="*/ 465 w 859"/>
              <a:gd name="T31" fmla="*/ 358 h 644"/>
              <a:gd name="T32" fmla="*/ 465 w 859"/>
              <a:gd name="T33" fmla="*/ 96 h 644"/>
              <a:gd name="T34" fmla="*/ 515 w 859"/>
              <a:gd name="T35" fmla="*/ 71 h 644"/>
              <a:gd name="T36" fmla="*/ 680 w 859"/>
              <a:gd name="T37" fmla="*/ 71 h 644"/>
              <a:gd name="T38" fmla="*/ 680 w 859"/>
              <a:gd name="T39" fmla="*/ 465 h 644"/>
              <a:gd name="T40" fmla="*/ 486 w 859"/>
              <a:gd name="T41" fmla="*/ 465 h 644"/>
              <a:gd name="T42" fmla="*/ 476 w 859"/>
              <a:gd name="T43" fmla="*/ 476 h 644"/>
              <a:gd name="T44" fmla="*/ 752 w 859"/>
              <a:gd name="T45" fmla="*/ 537 h 644"/>
              <a:gd name="T46" fmla="*/ 752 w 859"/>
              <a:gd name="T47" fmla="*/ 0 h 644"/>
              <a:gd name="T48" fmla="*/ 486 w 859"/>
              <a:gd name="T49" fmla="*/ 0 h 644"/>
              <a:gd name="T50" fmla="*/ 476 w 859"/>
              <a:gd name="T51" fmla="*/ 10 h 644"/>
              <a:gd name="T52" fmla="*/ 383 w 859"/>
              <a:gd name="T53" fmla="*/ 10 h 644"/>
              <a:gd name="T54" fmla="*/ 373 w 859"/>
              <a:gd name="T55" fmla="*/ 0 h 644"/>
              <a:gd name="T56" fmla="*/ 107 w 859"/>
              <a:gd name="T57" fmla="*/ 0 h 644"/>
              <a:gd name="T58" fmla="*/ 107 w 859"/>
              <a:gd name="T59" fmla="*/ 537 h 644"/>
              <a:gd name="T60" fmla="*/ 344 w 859"/>
              <a:gd name="T61" fmla="*/ 537 h 644"/>
              <a:gd name="T62" fmla="*/ 429 w 859"/>
              <a:gd name="T63" fmla="*/ 566 h 644"/>
              <a:gd name="T64" fmla="*/ 515 w 859"/>
              <a:gd name="T65" fmla="*/ 537 h 644"/>
              <a:gd name="T66" fmla="*/ 752 w 859"/>
              <a:gd name="T67" fmla="*/ 537 h 644"/>
              <a:gd name="T68" fmla="*/ 71 w 859"/>
              <a:gd name="T69" fmla="*/ 573 h 644"/>
              <a:gd name="T70" fmla="*/ 71 w 859"/>
              <a:gd name="T71" fmla="*/ 107 h 644"/>
              <a:gd name="T72" fmla="*/ 0 w 859"/>
              <a:gd name="T73" fmla="*/ 107 h 644"/>
              <a:gd name="T74" fmla="*/ 0 w 859"/>
              <a:gd name="T75" fmla="*/ 644 h 644"/>
              <a:gd name="T76" fmla="*/ 394 w 859"/>
              <a:gd name="T77" fmla="*/ 644 h 644"/>
              <a:gd name="T78" fmla="*/ 322 w 859"/>
              <a:gd name="T79" fmla="*/ 573 h 644"/>
              <a:gd name="T80" fmla="*/ 71 w 859"/>
              <a:gd name="T81" fmla="*/ 573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9" h="644">
                <a:moveTo>
                  <a:pt x="787" y="107"/>
                </a:moveTo>
                <a:lnTo>
                  <a:pt x="787" y="573"/>
                </a:lnTo>
                <a:lnTo>
                  <a:pt x="537" y="573"/>
                </a:lnTo>
                <a:lnTo>
                  <a:pt x="465" y="644"/>
                </a:lnTo>
                <a:lnTo>
                  <a:pt x="859" y="644"/>
                </a:lnTo>
                <a:lnTo>
                  <a:pt x="859" y="107"/>
                </a:lnTo>
                <a:lnTo>
                  <a:pt x="787" y="107"/>
                </a:lnTo>
                <a:close/>
                <a:moveTo>
                  <a:pt x="476" y="476"/>
                </a:moveTo>
                <a:cubicBezTo>
                  <a:pt x="450" y="501"/>
                  <a:pt x="409" y="501"/>
                  <a:pt x="383" y="476"/>
                </a:cubicBezTo>
                <a:lnTo>
                  <a:pt x="373" y="465"/>
                </a:lnTo>
                <a:lnTo>
                  <a:pt x="179" y="465"/>
                </a:lnTo>
                <a:lnTo>
                  <a:pt x="179" y="71"/>
                </a:lnTo>
                <a:lnTo>
                  <a:pt x="344" y="71"/>
                </a:lnTo>
                <a:cubicBezTo>
                  <a:pt x="359" y="71"/>
                  <a:pt x="393" y="91"/>
                  <a:pt x="393" y="96"/>
                </a:cubicBezTo>
                <a:lnTo>
                  <a:pt x="393" y="358"/>
                </a:lnTo>
                <a:lnTo>
                  <a:pt x="465" y="358"/>
                </a:lnTo>
                <a:lnTo>
                  <a:pt x="465" y="96"/>
                </a:lnTo>
                <a:cubicBezTo>
                  <a:pt x="465" y="91"/>
                  <a:pt x="500" y="71"/>
                  <a:pt x="515" y="71"/>
                </a:cubicBezTo>
                <a:lnTo>
                  <a:pt x="680" y="71"/>
                </a:lnTo>
                <a:lnTo>
                  <a:pt x="680" y="465"/>
                </a:lnTo>
                <a:lnTo>
                  <a:pt x="486" y="465"/>
                </a:lnTo>
                <a:lnTo>
                  <a:pt x="476" y="476"/>
                </a:lnTo>
                <a:close/>
                <a:moveTo>
                  <a:pt x="752" y="537"/>
                </a:moveTo>
                <a:lnTo>
                  <a:pt x="752" y="0"/>
                </a:lnTo>
                <a:lnTo>
                  <a:pt x="486" y="0"/>
                </a:lnTo>
                <a:lnTo>
                  <a:pt x="476" y="10"/>
                </a:lnTo>
                <a:cubicBezTo>
                  <a:pt x="450" y="36"/>
                  <a:pt x="409" y="36"/>
                  <a:pt x="383" y="10"/>
                </a:cubicBezTo>
                <a:lnTo>
                  <a:pt x="373" y="0"/>
                </a:lnTo>
                <a:lnTo>
                  <a:pt x="107" y="0"/>
                </a:lnTo>
                <a:lnTo>
                  <a:pt x="107" y="537"/>
                </a:lnTo>
                <a:lnTo>
                  <a:pt x="344" y="537"/>
                </a:lnTo>
                <a:cubicBezTo>
                  <a:pt x="369" y="573"/>
                  <a:pt x="399" y="566"/>
                  <a:pt x="429" y="566"/>
                </a:cubicBezTo>
                <a:cubicBezTo>
                  <a:pt x="460" y="566"/>
                  <a:pt x="490" y="573"/>
                  <a:pt x="515" y="537"/>
                </a:cubicBezTo>
                <a:lnTo>
                  <a:pt x="752" y="537"/>
                </a:lnTo>
                <a:close/>
                <a:moveTo>
                  <a:pt x="71" y="573"/>
                </a:moveTo>
                <a:lnTo>
                  <a:pt x="71" y="107"/>
                </a:lnTo>
                <a:lnTo>
                  <a:pt x="0" y="107"/>
                </a:lnTo>
                <a:lnTo>
                  <a:pt x="0" y="644"/>
                </a:lnTo>
                <a:lnTo>
                  <a:pt x="394" y="644"/>
                </a:lnTo>
                <a:lnTo>
                  <a:pt x="322" y="573"/>
                </a:lnTo>
                <a:lnTo>
                  <a:pt x="71" y="5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0"/>
          <p:cNvSpPr>
            <a:spLocks noEditPoints="1"/>
          </p:cNvSpPr>
          <p:nvPr/>
        </p:nvSpPr>
        <p:spPr bwMode="auto">
          <a:xfrm>
            <a:off x="11601728" y="1744503"/>
            <a:ext cx="360248" cy="301287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8" name="Freeform 41"/>
          <p:cNvSpPr>
            <a:spLocks/>
          </p:cNvSpPr>
          <p:nvPr/>
        </p:nvSpPr>
        <p:spPr bwMode="auto">
          <a:xfrm>
            <a:off x="11600809" y="4756459"/>
            <a:ext cx="362085" cy="315984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69" name="Группа 68"/>
          <p:cNvGrpSpPr/>
          <p:nvPr/>
        </p:nvGrpSpPr>
        <p:grpSpPr>
          <a:xfrm>
            <a:off x="11614594" y="200960"/>
            <a:ext cx="334516" cy="361915"/>
            <a:chOff x="477468" y="2705515"/>
            <a:chExt cx="409903" cy="443477"/>
          </a:xfrm>
        </p:grpSpPr>
        <p:sp>
          <p:nvSpPr>
            <p:cNvPr id="70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1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72" name="Freeform 44"/>
          <p:cNvSpPr>
            <a:spLocks noEditPoints="1"/>
          </p:cNvSpPr>
          <p:nvPr/>
        </p:nvSpPr>
        <p:spPr bwMode="auto">
          <a:xfrm>
            <a:off x="11606322" y="5464056"/>
            <a:ext cx="351059" cy="380284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3" name="Freeform 45"/>
          <p:cNvSpPr>
            <a:spLocks noEditPoints="1"/>
          </p:cNvSpPr>
          <p:nvPr/>
        </p:nvSpPr>
        <p:spPr bwMode="auto">
          <a:xfrm>
            <a:off x="11601728" y="966788"/>
            <a:ext cx="360248" cy="347216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89" name="Freeform 46"/>
          <p:cNvSpPr>
            <a:spLocks noEditPoints="1"/>
          </p:cNvSpPr>
          <p:nvPr/>
        </p:nvSpPr>
        <p:spPr bwMode="auto">
          <a:xfrm>
            <a:off x="11655949" y="3977824"/>
            <a:ext cx="251807" cy="363751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5" name="Freeform 52"/>
          <p:cNvSpPr>
            <a:spLocks noEditPoints="1"/>
          </p:cNvSpPr>
          <p:nvPr/>
        </p:nvSpPr>
        <p:spPr bwMode="auto">
          <a:xfrm>
            <a:off x="11605404" y="3223075"/>
            <a:ext cx="352896" cy="36375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Freeform 53"/>
          <p:cNvSpPr>
            <a:spLocks noEditPoints="1"/>
          </p:cNvSpPr>
          <p:nvPr/>
        </p:nvSpPr>
        <p:spPr bwMode="auto">
          <a:xfrm>
            <a:off x="11594376" y="6260448"/>
            <a:ext cx="374952" cy="327005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115" name="AutoShape 4"/>
          <p:cNvSpPr>
            <a:spLocks noChangeAspect="1" noChangeArrowheads="1" noTextEdit="1"/>
          </p:cNvSpPr>
          <p:nvPr/>
        </p:nvSpPr>
        <p:spPr bwMode="auto">
          <a:xfrm>
            <a:off x="5844301" y="1808388"/>
            <a:ext cx="918665" cy="317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79" name="Группа 78"/>
          <p:cNvGrpSpPr/>
          <p:nvPr/>
        </p:nvGrpSpPr>
        <p:grpSpPr>
          <a:xfrm>
            <a:off x="105665" y="49921"/>
            <a:ext cx="1268960" cy="438775"/>
            <a:chOff x="254665" y="195486"/>
            <a:chExt cx="951720" cy="329081"/>
          </a:xfrm>
        </p:grpSpPr>
        <p:sp>
          <p:nvSpPr>
            <p:cNvPr id="80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3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4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5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6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7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8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0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1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2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3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4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494785"/>
            <a:ext cx="4421068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0" name="Рисунок 4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684" y="1193679"/>
            <a:ext cx="2367118" cy="313709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1" name="Рисунок 50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4479" y="1400742"/>
            <a:ext cx="1033552" cy="1275992"/>
          </a:xfrm>
          <a:prstGeom prst="rect">
            <a:avLst/>
          </a:prstGeom>
        </p:spPr>
      </p:pic>
      <p:pic>
        <p:nvPicPr>
          <p:cNvPr id="53" name="Рисунок 5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40687" y="4750593"/>
            <a:ext cx="1388968" cy="1493188"/>
          </a:xfrm>
          <a:prstGeom prst="rect">
            <a:avLst/>
          </a:prstGeom>
        </p:spPr>
      </p:pic>
      <p:sp>
        <p:nvSpPr>
          <p:cNvPr id="54" name="Прямоугольник 53"/>
          <p:cNvSpPr/>
          <p:nvPr/>
        </p:nvSpPr>
        <p:spPr>
          <a:xfrm>
            <a:off x="1971311" y="136241"/>
            <a:ext cx="920377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ru-RU" sz="2400" b="1" dirty="0">
                <a:solidFill>
                  <a:srgbClr val="002060"/>
                </a:solidFill>
                <a:latin typeface="Carlito"/>
              </a:rPr>
              <a:t>АТЛАС. ОРИЕНТИРОВАНИЕ НА МЕСТНОСТИ   </a:t>
            </a:r>
            <a:r>
              <a:rPr lang="ru-RU" sz="2400" b="1" dirty="0">
                <a:solidFill>
                  <a:srgbClr val="C00000"/>
                </a:solidFill>
                <a:latin typeface="Carlito"/>
              </a:rPr>
              <a:t>7-11 классы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4528459" y="1105700"/>
            <a:ext cx="6326354" cy="513986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285750" lvl="0" indent="-285750" algn="just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ru-RU" dirty="0">
                <a:solidFill>
                  <a:srgbClr val="181818">
                    <a:lumMod val="90000"/>
                    <a:lumOff val="10000"/>
                  </a:srgbClr>
                </a:solidFill>
              </a:rPr>
              <a:t>Атлас в доступной форме знакомит с теорией и практикой ориентирования на местности как традиционными способами, так и с использованием современных технологий. </a:t>
            </a:r>
          </a:p>
          <a:p>
            <a:pPr marL="285750" lvl="0" indent="-285750" algn="just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ru-RU" dirty="0">
                <a:solidFill>
                  <a:srgbClr val="181818">
                    <a:lumMod val="90000"/>
                    <a:lumOff val="10000"/>
                  </a:srgbClr>
                </a:solidFill>
              </a:rPr>
              <a:t>Создан совместно с </a:t>
            </a:r>
            <a:r>
              <a:rPr lang="ru-RU" dirty="0"/>
              <a:t>Общероссийской общественно-государственной детско-юношеской организацией «Российское движение школьников»</a:t>
            </a:r>
          </a:p>
          <a:p>
            <a:pPr marL="285750" lvl="0" indent="-285750" algn="just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ru-RU" dirty="0"/>
              <a:t>Необходим для проведения смен, занятий и мероприятий различной направленности: туризм, краеведение, военно-спортивные </a:t>
            </a:r>
            <a:r>
              <a:rPr lang="ru-RU" sz="1600" dirty="0"/>
              <a:t>игры</a:t>
            </a:r>
            <a:r>
              <a:rPr lang="ru-RU" dirty="0"/>
              <a:t> («Зарница» , «Орлёнок» и др.), начальная военная подготовка, география и геология, спортивное ориентирование, основы безопасности жизнедеятельности, поисковая деятельность.</a:t>
            </a:r>
          </a:p>
          <a:p>
            <a:pPr marL="285750" indent="-285750" algn="just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ru-RU" dirty="0"/>
              <a:t>Может использоваться как дополнительный материал на уроках географии и ОБЖ в школе.</a:t>
            </a:r>
          </a:p>
          <a:p>
            <a:pPr marL="285750" lvl="0" indent="-285750" algn="just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endParaRPr lang="ru-RU" dirty="0">
              <a:solidFill>
                <a:srgbClr val="181818">
                  <a:lumMod val="90000"/>
                  <a:lumOff val="10000"/>
                </a:srgbClr>
              </a:solidFill>
            </a:endParaRPr>
          </a:p>
        </p:txBody>
      </p:sp>
      <p:cxnSp>
        <p:nvCxnSpPr>
          <p:cNvPr id="47" name="Прямая соединительная линия 46"/>
          <p:cNvCxnSpPr/>
          <p:nvPr/>
        </p:nvCxnSpPr>
        <p:spPr>
          <a:xfrm>
            <a:off x="1674328" y="604268"/>
            <a:ext cx="9701341" cy="15932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016406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96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xmlns="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11375669" y="2257824"/>
            <a:ext cx="812363" cy="754751"/>
          </a:xfrm>
          <a:prstGeom prst="rect">
            <a:avLst/>
          </a:prstGeom>
          <a:solidFill>
            <a:srgbClr val="40D4E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3"/>
          <p:cNvSpPr>
            <a:spLocks noChangeArrowheads="1"/>
          </p:cNvSpPr>
          <p:nvPr/>
        </p:nvSpPr>
        <p:spPr bwMode="auto">
          <a:xfrm>
            <a:off x="11375669" y="5276823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4"/>
          <p:cNvSpPr>
            <a:spLocks noChangeArrowheads="1"/>
          </p:cNvSpPr>
          <p:nvPr/>
        </p:nvSpPr>
        <p:spPr bwMode="auto">
          <a:xfrm>
            <a:off x="11376586" y="4522072"/>
            <a:ext cx="812363" cy="754751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17"/>
          <p:cNvSpPr>
            <a:spLocks noChangeArrowheads="1"/>
          </p:cNvSpPr>
          <p:nvPr/>
        </p:nvSpPr>
        <p:spPr bwMode="auto">
          <a:xfrm>
            <a:off x="11375670" y="-4589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19"/>
          <p:cNvSpPr>
            <a:spLocks noChangeArrowheads="1"/>
          </p:cNvSpPr>
          <p:nvPr/>
        </p:nvSpPr>
        <p:spPr bwMode="auto">
          <a:xfrm>
            <a:off x="11376586" y="3012572"/>
            <a:ext cx="812363" cy="754751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1"/>
          <p:cNvSpPr>
            <a:spLocks noChangeArrowheads="1"/>
          </p:cNvSpPr>
          <p:nvPr/>
        </p:nvSpPr>
        <p:spPr bwMode="auto">
          <a:xfrm>
            <a:off x="11376586" y="6031572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2"/>
          <p:cNvSpPr>
            <a:spLocks noChangeArrowheads="1"/>
          </p:cNvSpPr>
          <p:nvPr/>
        </p:nvSpPr>
        <p:spPr bwMode="auto">
          <a:xfrm>
            <a:off x="11375670" y="1502768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2" name="Rectangle 25"/>
          <p:cNvSpPr>
            <a:spLocks noChangeArrowheads="1"/>
          </p:cNvSpPr>
          <p:nvPr/>
        </p:nvSpPr>
        <p:spPr bwMode="auto">
          <a:xfrm>
            <a:off x="11376586" y="3767322"/>
            <a:ext cx="812363" cy="754751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29"/>
          <p:cNvSpPr>
            <a:spLocks noChangeArrowheads="1"/>
          </p:cNvSpPr>
          <p:nvPr/>
        </p:nvSpPr>
        <p:spPr bwMode="auto">
          <a:xfrm>
            <a:off x="11375670" y="748019"/>
            <a:ext cx="812363" cy="754751"/>
          </a:xfrm>
          <a:prstGeom prst="rect">
            <a:avLst/>
          </a:prstGeom>
          <a:solidFill>
            <a:srgbClr val="9ED44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2"/>
          <p:cNvSpPr>
            <a:spLocks noEditPoints="1"/>
          </p:cNvSpPr>
          <p:nvPr/>
        </p:nvSpPr>
        <p:spPr bwMode="auto">
          <a:xfrm>
            <a:off x="11600809" y="2514255"/>
            <a:ext cx="362085" cy="271895"/>
          </a:xfrm>
          <a:custGeom>
            <a:avLst/>
            <a:gdLst>
              <a:gd name="T0" fmla="*/ 787 w 859"/>
              <a:gd name="T1" fmla="*/ 107 h 644"/>
              <a:gd name="T2" fmla="*/ 787 w 859"/>
              <a:gd name="T3" fmla="*/ 573 h 644"/>
              <a:gd name="T4" fmla="*/ 537 w 859"/>
              <a:gd name="T5" fmla="*/ 573 h 644"/>
              <a:gd name="T6" fmla="*/ 465 w 859"/>
              <a:gd name="T7" fmla="*/ 644 h 644"/>
              <a:gd name="T8" fmla="*/ 859 w 859"/>
              <a:gd name="T9" fmla="*/ 644 h 644"/>
              <a:gd name="T10" fmla="*/ 859 w 859"/>
              <a:gd name="T11" fmla="*/ 107 h 644"/>
              <a:gd name="T12" fmla="*/ 787 w 859"/>
              <a:gd name="T13" fmla="*/ 107 h 644"/>
              <a:gd name="T14" fmla="*/ 476 w 859"/>
              <a:gd name="T15" fmla="*/ 476 h 644"/>
              <a:gd name="T16" fmla="*/ 383 w 859"/>
              <a:gd name="T17" fmla="*/ 476 h 644"/>
              <a:gd name="T18" fmla="*/ 373 w 859"/>
              <a:gd name="T19" fmla="*/ 465 h 644"/>
              <a:gd name="T20" fmla="*/ 179 w 859"/>
              <a:gd name="T21" fmla="*/ 465 h 644"/>
              <a:gd name="T22" fmla="*/ 179 w 859"/>
              <a:gd name="T23" fmla="*/ 71 h 644"/>
              <a:gd name="T24" fmla="*/ 344 w 859"/>
              <a:gd name="T25" fmla="*/ 71 h 644"/>
              <a:gd name="T26" fmla="*/ 393 w 859"/>
              <a:gd name="T27" fmla="*/ 96 h 644"/>
              <a:gd name="T28" fmla="*/ 393 w 859"/>
              <a:gd name="T29" fmla="*/ 358 h 644"/>
              <a:gd name="T30" fmla="*/ 465 w 859"/>
              <a:gd name="T31" fmla="*/ 358 h 644"/>
              <a:gd name="T32" fmla="*/ 465 w 859"/>
              <a:gd name="T33" fmla="*/ 96 h 644"/>
              <a:gd name="T34" fmla="*/ 515 w 859"/>
              <a:gd name="T35" fmla="*/ 71 h 644"/>
              <a:gd name="T36" fmla="*/ 680 w 859"/>
              <a:gd name="T37" fmla="*/ 71 h 644"/>
              <a:gd name="T38" fmla="*/ 680 w 859"/>
              <a:gd name="T39" fmla="*/ 465 h 644"/>
              <a:gd name="T40" fmla="*/ 486 w 859"/>
              <a:gd name="T41" fmla="*/ 465 h 644"/>
              <a:gd name="T42" fmla="*/ 476 w 859"/>
              <a:gd name="T43" fmla="*/ 476 h 644"/>
              <a:gd name="T44" fmla="*/ 752 w 859"/>
              <a:gd name="T45" fmla="*/ 537 h 644"/>
              <a:gd name="T46" fmla="*/ 752 w 859"/>
              <a:gd name="T47" fmla="*/ 0 h 644"/>
              <a:gd name="T48" fmla="*/ 486 w 859"/>
              <a:gd name="T49" fmla="*/ 0 h 644"/>
              <a:gd name="T50" fmla="*/ 476 w 859"/>
              <a:gd name="T51" fmla="*/ 10 h 644"/>
              <a:gd name="T52" fmla="*/ 383 w 859"/>
              <a:gd name="T53" fmla="*/ 10 h 644"/>
              <a:gd name="T54" fmla="*/ 373 w 859"/>
              <a:gd name="T55" fmla="*/ 0 h 644"/>
              <a:gd name="T56" fmla="*/ 107 w 859"/>
              <a:gd name="T57" fmla="*/ 0 h 644"/>
              <a:gd name="T58" fmla="*/ 107 w 859"/>
              <a:gd name="T59" fmla="*/ 537 h 644"/>
              <a:gd name="T60" fmla="*/ 344 w 859"/>
              <a:gd name="T61" fmla="*/ 537 h 644"/>
              <a:gd name="T62" fmla="*/ 429 w 859"/>
              <a:gd name="T63" fmla="*/ 566 h 644"/>
              <a:gd name="T64" fmla="*/ 515 w 859"/>
              <a:gd name="T65" fmla="*/ 537 h 644"/>
              <a:gd name="T66" fmla="*/ 752 w 859"/>
              <a:gd name="T67" fmla="*/ 537 h 644"/>
              <a:gd name="T68" fmla="*/ 71 w 859"/>
              <a:gd name="T69" fmla="*/ 573 h 644"/>
              <a:gd name="T70" fmla="*/ 71 w 859"/>
              <a:gd name="T71" fmla="*/ 107 h 644"/>
              <a:gd name="T72" fmla="*/ 0 w 859"/>
              <a:gd name="T73" fmla="*/ 107 h 644"/>
              <a:gd name="T74" fmla="*/ 0 w 859"/>
              <a:gd name="T75" fmla="*/ 644 h 644"/>
              <a:gd name="T76" fmla="*/ 394 w 859"/>
              <a:gd name="T77" fmla="*/ 644 h 644"/>
              <a:gd name="T78" fmla="*/ 322 w 859"/>
              <a:gd name="T79" fmla="*/ 573 h 644"/>
              <a:gd name="T80" fmla="*/ 71 w 859"/>
              <a:gd name="T81" fmla="*/ 573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9" h="644">
                <a:moveTo>
                  <a:pt x="787" y="107"/>
                </a:moveTo>
                <a:lnTo>
                  <a:pt x="787" y="573"/>
                </a:lnTo>
                <a:lnTo>
                  <a:pt x="537" y="573"/>
                </a:lnTo>
                <a:lnTo>
                  <a:pt x="465" y="644"/>
                </a:lnTo>
                <a:lnTo>
                  <a:pt x="859" y="644"/>
                </a:lnTo>
                <a:lnTo>
                  <a:pt x="859" y="107"/>
                </a:lnTo>
                <a:lnTo>
                  <a:pt x="787" y="107"/>
                </a:lnTo>
                <a:close/>
                <a:moveTo>
                  <a:pt x="476" y="476"/>
                </a:moveTo>
                <a:cubicBezTo>
                  <a:pt x="450" y="501"/>
                  <a:pt x="409" y="501"/>
                  <a:pt x="383" y="476"/>
                </a:cubicBezTo>
                <a:lnTo>
                  <a:pt x="373" y="465"/>
                </a:lnTo>
                <a:lnTo>
                  <a:pt x="179" y="465"/>
                </a:lnTo>
                <a:lnTo>
                  <a:pt x="179" y="71"/>
                </a:lnTo>
                <a:lnTo>
                  <a:pt x="344" y="71"/>
                </a:lnTo>
                <a:cubicBezTo>
                  <a:pt x="359" y="71"/>
                  <a:pt x="393" y="91"/>
                  <a:pt x="393" y="96"/>
                </a:cubicBezTo>
                <a:lnTo>
                  <a:pt x="393" y="358"/>
                </a:lnTo>
                <a:lnTo>
                  <a:pt x="465" y="358"/>
                </a:lnTo>
                <a:lnTo>
                  <a:pt x="465" y="96"/>
                </a:lnTo>
                <a:cubicBezTo>
                  <a:pt x="465" y="91"/>
                  <a:pt x="500" y="71"/>
                  <a:pt x="515" y="71"/>
                </a:cubicBezTo>
                <a:lnTo>
                  <a:pt x="680" y="71"/>
                </a:lnTo>
                <a:lnTo>
                  <a:pt x="680" y="465"/>
                </a:lnTo>
                <a:lnTo>
                  <a:pt x="486" y="465"/>
                </a:lnTo>
                <a:lnTo>
                  <a:pt x="476" y="476"/>
                </a:lnTo>
                <a:close/>
                <a:moveTo>
                  <a:pt x="752" y="537"/>
                </a:moveTo>
                <a:lnTo>
                  <a:pt x="752" y="0"/>
                </a:lnTo>
                <a:lnTo>
                  <a:pt x="486" y="0"/>
                </a:lnTo>
                <a:lnTo>
                  <a:pt x="476" y="10"/>
                </a:lnTo>
                <a:cubicBezTo>
                  <a:pt x="450" y="36"/>
                  <a:pt x="409" y="36"/>
                  <a:pt x="383" y="10"/>
                </a:cubicBezTo>
                <a:lnTo>
                  <a:pt x="373" y="0"/>
                </a:lnTo>
                <a:lnTo>
                  <a:pt x="107" y="0"/>
                </a:lnTo>
                <a:lnTo>
                  <a:pt x="107" y="537"/>
                </a:lnTo>
                <a:lnTo>
                  <a:pt x="344" y="537"/>
                </a:lnTo>
                <a:cubicBezTo>
                  <a:pt x="369" y="573"/>
                  <a:pt x="399" y="566"/>
                  <a:pt x="429" y="566"/>
                </a:cubicBezTo>
                <a:cubicBezTo>
                  <a:pt x="460" y="566"/>
                  <a:pt x="490" y="573"/>
                  <a:pt x="515" y="537"/>
                </a:cubicBezTo>
                <a:lnTo>
                  <a:pt x="752" y="537"/>
                </a:lnTo>
                <a:close/>
                <a:moveTo>
                  <a:pt x="71" y="573"/>
                </a:moveTo>
                <a:lnTo>
                  <a:pt x="71" y="107"/>
                </a:lnTo>
                <a:lnTo>
                  <a:pt x="0" y="107"/>
                </a:lnTo>
                <a:lnTo>
                  <a:pt x="0" y="644"/>
                </a:lnTo>
                <a:lnTo>
                  <a:pt x="394" y="644"/>
                </a:lnTo>
                <a:lnTo>
                  <a:pt x="322" y="573"/>
                </a:lnTo>
                <a:lnTo>
                  <a:pt x="71" y="5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0"/>
          <p:cNvSpPr>
            <a:spLocks noEditPoints="1"/>
          </p:cNvSpPr>
          <p:nvPr/>
        </p:nvSpPr>
        <p:spPr bwMode="auto">
          <a:xfrm>
            <a:off x="11601728" y="1744503"/>
            <a:ext cx="360248" cy="301287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8" name="Freeform 41"/>
          <p:cNvSpPr>
            <a:spLocks/>
          </p:cNvSpPr>
          <p:nvPr/>
        </p:nvSpPr>
        <p:spPr bwMode="auto">
          <a:xfrm>
            <a:off x="11600809" y="4756459"/>
            <a:ext cx="362085" cy="315984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69" name="Группа 68"/>
          <p:cNvGrpSpPr/>
          <p:nvPr/>
        </p:nvGrpSpPr>
        <p:grpSpPr>
          <a:xfrm>
            <a:off x="11614594" y="200960"/>
            <a:ext cx="334516" cy="361915"/>
            <a:chOff x="477468" y="2705515"/>
            <a:chExt cx="409903" cy="443477"/>
          </a:xfrm>
        </p:grpSpPr>
        <p:sp>
          <p:nvSpPr>
            <p:cNvPr id="70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1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72" name="Freeform 44"/>
          <p:cNvSpPr>
            <a:spLocks noEditPoints="1"/>
          </p:cNvSpPr>
          <p:nvPr/>
        </p:nvSpPr>
        <p:spPr bwMode="auto">
          <a:xfrm>
            <a:off x="11606322" y="5464056"/>
            <a:ext cx="351059" cy="380284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3" name="Freeform 45"/>
          <p:cNvSpPr>
            <a:spLocks noEditPoints="1"/>
          </p:cNvSpPr>
          <p:nvPr/>
        </p:nvSpPr>
        <p:spPr bwMode="auto">
          <a:xfrm>
            <a:off x="11601728" y="966788"/>
            <a:ext cx="360248" cy="347216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89" name="Freeform 46"/>
          <p:cNvSpPr>
            <a:spLocks noEditPoints="1"/>
          </p:cNvSpPr>
          <p:nvPr/>
        </p:nvSpPr>
        <p:spPr bwMode="auto">
          <a:xfrm>
            <a:off x="11655949" y="3977824"/>
            <a:ext cx="251807" cy="363751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5" name="Freeform 52"/>
          <p:cNvSpPr>
            <a:spLocks noEditPoints="1"/>
          </p:cNvSpPr>
          <p:nvPr/>
        </p:nvSpPr>
        <p:spPr bwMode="auto">
          <a:xfrm>
            <a:off x="11605404" y="3223075"/>
            <a:ext cx="352896" cy="36375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Freeform 53"/>
          <p:cNvSpPr>
            <a:spLocks noEditPoints="1"/>
          </p:cNvSpPr>
          <p:nvPr/>
        </p:nvSpPr>
        <p:spPr bwMode="auto">
          <a:xfrm>
            <a:off x="11594376" y="6260448"/>
            <a:ext cx="374952" cy="327005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115" name="AutoShape 4"/>
          <p:cNvSpPr>
            <a:spLocks noChangeAspect="1" noChangeArrowheads="1" noTextEdit="1"/>
          </p:cNvSpPr>
          <p:nvPr/>
        </p:nvSpPr>
        <p:spPr bwMode="auto">
          <a:xfrm>
            <a:off x="5844301" y="1808388"/>
            <a:ext cx="918665" cy="317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79" name="Группа 78"/>
          <p:cNvGrpSpPr/>
          <p:nvPr/>
        </p:nvGrpSpPr>
        <p:grpSpPr>
          <a:xfrm>
            <a:off x="105665" y="49921"/>
            <a:ext cx="1268960" cy="438775"/>
            <a:chOff x="254665" y="195486"/>
            <a:chExt cx="951720" cy="329081"/>
          </a:xfrm>
        </p:grpSpPr>
        <p:sp>
          <p:nvSpPr>
            <p:cNvPr id="80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3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4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5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6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7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8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0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1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2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3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4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494785"/>
            <a:ext cx="4421068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2775996" y="83349"/>
            <a:ext cx="546694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>
                <a:solidFill>
                  <a:srgbClr val="002060"/>
                </a:solidFill>
                <a:latin typeface="Carlito"/>
              </a:rPr>
              <a:t>АТЛАСЫ ДЛЯ ПРОЕКТНЫХ РАБОТ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3390624" y="5029558"/>
            <a:ext cx="176772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i="1" dirty="0"/>
              <a:t>Автор</a:t>
            </a:r>
            <a:r>
              <a:rPr lang="ru-RU" sz="1400" dirty="0"/>
              <a:t> </a:t>
            </a:r>
            <a:r>
              <a:rPr lang="ru-RU" sz="1400" dirty="0" err="1"/>
              <a:t>О.В.Крылова</a:t>
            </a:r>
            <a:r>
              <a:rPr lang="ru-RU" sz="1400" dirty="0"/>
              <a:t> </a:t>
            </a:r>
          </a:p>
        </p:txBody>
      </p:sp>
      <p:pic>
        <p:nvPicPr>
          <p:cNvPr id="53" name="Picture 2" descr="http://qrcoder.ru/code/?https%3A%2F%2Fshop.prosv.ru%2Fsearch%3Fq%3D%25D0%25BF%25D1%2580%25D0%25BE%25D0%25B5%25D0%25BA%25D1%2582%25D0%25BD%25D1%258B%25D1%2585&amp;10&amp;0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0883" y="4447261"/>
            <a:ext cx="1659122" cy="16591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4" name="Прямоугольник 53"/>
          <p:cNvSpPr/>
          <p:nvPr/>
        </p:nvSpPr>
        <p:spPr>
          <a:xfrm>
            <a:off x="5971998" y="1936749"/>
            <a:ext cx="5122478" cy="281615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dirty="0"/>
              <a:t>В атласах  представлены учебные проекты и учебные задачи разного содержания, создаваемые учащимися на основе анализа исторических и современных карт :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/>
              <a:t>составлять</a:t>
            </a:r>
            <a:r>
              <a:rPr lang="ru-RU" dirty="0"/>
              <a:t> новый картографический образ объекта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dirty="0"/>
              <a:t>представлять новый вид изображения объекта или местности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dirty="0"/>
              <a:t>создавать авторские карты и атласы</a:t>
            </a:r>
          </a:p>
        </p:txBody>
      </p:sp>
      <p:pic>
        <p:nvPicPr>
          <p:cNvPr id="55" name="Рисунок 5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8989" y="1860966"/>
            <a:ext cx="2330047" cy="3087968"/>
          </a:xfrm>
          <a:prstGeom prst="rect">
            <a:avLst/>
          </a:prstGeom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7" name="Рисунок 56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158" y="1101572"/>
            <a:ext cx="2330046" cy="3087968"/>
          </a:xfrm>
          <a:prstGeom prst="rect">
            <a:avLst/>
          </a:prstGeom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" name="TextBox 2"/>
          <p:cNvSpPr txBox="1"/>
          <p:nvPr/>
        </p:nvSpPr>
        <p:spPr>
          <a:xfrm>
            <a:off x="3250398" y="668869"/>
            <a:ext cx="772874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/>
              <a:t>Серия учебных пособий, предназначенных для организации проектной деятельности школьников и развития исследовательских и творческих способностей</a:t>
            </a:r>
          </a:p>
        </p:txBody>
      </p:sp>
      <p:cxnSp>
        <p:nvCxnSpPr>
          <p:cNvPr id="58" name="Прямая соединительная линия 57"/>
          <p:cNvCxnSpPr/>
          <p:nvPr/>
        </p:nvCxnSpPr>
        <p:spPr>
          <a:xfrm>
            <a:off x="1674328" y="604268"/>
            <a:ext cx="9701341" cy="15932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9552373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17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xmlns="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11375669" y="2257824"/>
            <a:ext cx="812363" cy="754751"/>
          </a:xfrm>
          <a:prstGeom prst="rect">
            <a:avLst/>
          </a:prstGeom>
          <a:solidFill>
            <a:srgbClr val="40D4E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3"/>
          <p:cNvSpPr>
            <a:spLocks noChangeArrowheads="1"/>
          </p:cNvSpPr>
          <p:nvPr/>
        </p:nvSpPr>
        <p:spPr bwMode="auto">
          <a:xfrm>
            <a:off x="11375669" y="5276823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4"/>
          <p:cNvSpPr>
            <a:spLocks noChangeArrowheads="1"/>
          </p:cNvSpPr>
          <p:nvPr/>
        </p:nvSpPr>
        <p:spPr bwMode="auto">
          <a:xfrm>
            <a:off x="11376586" y="4522072"/>
            <a:ext cx="812363" cy="754751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17"/>
          <p:cNvSpPr>
            <a:spLocks noChangeArrowheads="1"/>
          </p:cNvSpPr>
          <p:nvPr/>
        </p:nvSpPr>
        <p:spPr bwMode="auto">
          <a:xfrm>
            <a:off x="11375670" y="-4589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19"/>
          <p:cNvSpPr>
            <a:spLocks noChangeArrowheads="1"/>
          </p:cNvSpPr>
          <p:nvPr/>
        </p:nvSpPr>
        <p:spPr bwMode="auto">
          <a:xfrm>
            <a:off x="11376586" y="3012572"/>
            <a:ext cx="812363" cy="754751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1"/>
          <p:cNvSpPr>
            <a:spLocks noChangeArrowheads="1"/>
          </p:cNvSpPr>
          <p:nvPr/>
        </p:nvSpPr>
        <p:spPr bwMode="auto">
          <a:xfrm>
            <a:off x="11376586" y="6031572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2"/>
          <p:cNvSpPr>
            <a:spLocks noChangeArrowheads="1"/>
          </p:cNvSpPr>
          <p:nvPr/>
        </p:nvSpPr>
        <p:spPr bwMode="auto">
          <a:xfrm>
            <a:off x="11375670" y="1502768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2" name="Rectangle 25"/>
          <p:cNvSpPr>
            <a:spLocks noChangeArrowheads="1"/>
          </p:cNvSpPr>
          <p:nvPr/>
        </p:nvSpPr>
        <p:spPr bwMode="auto">
          <a:xfrm>
            <a:off x="11376586" y="3767322"/>
            <a:ext cx="812363" cy="754751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29"/>
          <p:cNvSpPr>
            <a:spLocks noChangeArrowheads="1"/>
          </p:cNvSpPr>
          <p:nvPr/>
        </p:nvSpPr>
        <p:spPr bwMode="auto">
          <a:xfrm>
            <a:off x="11375670" y="748019"/>
            <a:ext cx="812363" cy="754751"/>
          </a:xfrm>
          <a:prstGeom prst="rect">
            <a:avLst/>
          </a:prstGeom>
          <a:solidFill>
            <a:srgbClr val="9ED44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2"/>
          <p:cNvSpPr>
            <a:spLocks noEditPoints="1"/>
          </p:cNvSpPr>
          <p:nvPr/>
        </p:nvSpPr>
        <p:spPr bwMode="auto">
          <a:xfrm>
            <a:off x="11600809" y="2514255"/>
            <a:ext cx="362085" cy="271895"/>
          </a:xfrm>
          <a:custGeom>
            <a:avLst/>
            <a:gdLst>
              <a:gd name="T0" fmla="*/ 787 w 859"/>
              <a:gd name="T1" fmla="*/ 107 h 644"/>
              <a:gd name="T2" fmla="*/ 787 w 859"/>
              <a:gd name="T3" fmla="*/ 573 h 644"/>
              <a:gd name="T4" fmla="*/ 537 w 859"/>
              <a:gd name="T5" fmla="*/ 573 h 644"/>
              <a:gd name="T6" fmla="*/ 465 w 859"/>
              <a:gd name="T7" fmla="*/ 644 h 644"/>
              <a:gd name="T8" fmla="*/ 859 w 859"/>
              <a:gd name="T9" fmla="*/ 644 h 644"/>
              <a:gd name="T10" fmla="*/ 859 w 859"/>
              <a:gd name="T11" fmla="*/ 107 h 644"/>
              <a:gd name="T12" fmla="*/ 787 w 859"/>
              <a:gd name="T13" fmla="*/ 107 h 644"/>
              <a:gd name="T14" fmla="*/ 476 w 859"/>
              <a:gd name="T15" fmla="*/ 476 h 644"/>
              <a:gd name="T16" fmla="*/ 383 w 859"/>
              <a:gd name="T17" fmla="*/ 476 h 644"/>
              <a:gd name="T18" fmla="*/ 373 w 859"/>
              <a:gd name="T19" fmla="*/ 465 h 644"/>
              <a:gd name="T20" fmla="*/ 179 w 859"/>
              <a:gd name="T21" fmla="*/ 465 h 644"/>
              <a:gd name="T22" fmla="*/ 179 w 859"/>
              <a:gd name="T23" fmla="*/ 71 h 644"/>
              <a:gd name="T24" fmla="*/ 344 w 859"/>
              <a:gd name="T25" fmla="*/ 71 h 644"/>
              <a:gd name="T26" fmla="*/ 393 w 859"/>
              <a:gd name="T27" fmla="*/ 96 h 644"/>
              <a:gd name="T28" fmla="*/ 393 w 859"/>
              <a:gd name="T29" fmla="*/ 358 h 644"/>
              <a:gd name="T30" fmla="*/ 465 w 859"/>
              <a:gd name="T31" fmla="*/ 358 h 644"/>
              <a:gd name="T32" fmla="*/ 465 w 859"/>
              <a:gd name="T33" fmla="*/ 96 h 644"/>
              <a:gd name="T34" fmla="*/ 515 w 859"/>
              <a:gd name="T35" fmla="*/ 71 h 644"/>
              <a:gd name="T36" fmla="*/ 680 w 859"/>
              <a:gd name="T37" fmla="*/ 71 h 644"/>
              <a:gd name="T38" fmla="*/ 680 w 859"/>
              <a:gd name="T39" fmla="*/ 465 h 644"/>
              <a:gd name="T40" fmla="*/ 486 w 859"/>
              <a:gd name="T41" fmla="*/ 465 h 644"/>
              <a:gd name="T42" fmla="*/ 476 w 859"/>
              <a:gd name="T43" fmla="*/ 476 h 644"/>
              <a:gd name="T44" fmla="*/ 752 w 859"/>
              <a:gd name="T45" fmla="*/ 537 h 644"/>
              <a:gd name="T46" fmla="*/ 752 w 859"/>
              <a:gd name="T47" fmla="*/ 0 h 644"/>
              <a:gd name="T48" fmla="*/ 486 w 859"/>
              <a:gd name="T49" fmla="*/ 0 h 644"/>
              <a:gd name="T50" fmla="*/ 476 w 859"/>
              <a:gd name="T51" fmla="*/ 10 h 644"/>
              <a:gd name="T52" fmla="*/ 383 w 859"/>
              <a:gd name="T53" fmla="*/ 10 h 644"/>
              <a:gd name="T54" fmla="*/ 373 w 859"/>
              <a:gd name="T55" fmla="*/ 0 h 644"/>
              <a:gd name="T56" fmla="*/ 107 w 859"/>
              <a:gd name="T57" fmla="*/ 0 h 644"/>
              <a:gd name="T58" fmla="*/ 107 w 859"/>
              <a:gd name="T59" fmla="*/ 537 h 644"/>
              <a:gd name="T60" fmla="*/ 344 w 859"/>
              <a:gd name="T61" fmla="*/ 537 h 644"/>
              <a:gd name="T62" fmla="*/ 429 w 859"/>
              <a:gd name="T63" fmla="*/ 566 h 644"/>
              <a:gd name="T64" fmla="*/ 515 w 859"/>
              <a:gd name="T65" fmla="*/ 537 h 644"/>
              <a:gd name="T66" fmla="*/ 752 w 859"/>
              <a:gd name="T67" fmla="*/ 537 h 644"/>
              <a:gd name="T68" fmla="*/ 71 w 859"/>
              <a:gd name="T69" fmla="*/ 573 h 644"/>
              <a:gd name="T70" fmla="*/ 71 w 859"/>
              <a:gd name="T71" fmla="*/ 107 h 644"/>
              <a:gd name="T72" fmla="*/ 0 w 859"/>
              <a:gd name="T73" fmla="*/ 107 h 644"/>
              <a:gd name="T74" fmla="*/ 0 w 859"/>
              <a:gd name="T75" fmla="*/ 644 h 644"/>
              <a:gd name="T76" fmla="*/ 394 w 859"/>
              <a:gd name="T77" fmla="*/ 644 h 644"/>
              <a:gd name="T78" fmla="*/ 322 w 859"/>
              <a:gd name="T79" fmla="*/ 573 h 644"/>
              <a:gd name="T80" fmla="*/ 71 w 859"/>
              <a:gd name="T81" fmla="*/ 573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9" h="644">
                <a:moveTo>
                  <a:pt x="787" y="107"/>
                </a:moveTo>
                <a:lnTo>
                  <a:pt x="787" y="573"/>
                </a:lnTo>
                <a:lnTo>
                  <a:pt x="537" y="573"/>
                </a:lnTo>
                <a:lnTo>
                  <a:pt x="465" y="644"/>
                </a:lnTo>
                <a:lnTo>
                  <a:pt x="859" y="644"/>
                </a:lnTo>
                <a:lnTo>
                  <a:pt x="859" y="107"/>
                </a:lnTo>
                <a:lnTo>
                  <a:pt x="787" y="107"/>
                </a:lnTo>
                <a:close/>
                <a:moveTo>
                  <a:pt x="476" y="476"/>
                </a:moveTo>
                <a:cubicBezTo>
                  <a:pt x="450" y="501"/>
                  <a:pt x="409" y="501"/>
                  <a:pt x="383" y="476"/>
                </a:cubicBezTo>
                <a:lnTo>
                  <a:pt x="373" y="465"/>
                </a:lnTo>
                <a:lnTo>
                  <a:pt x="179" y="465"/>
                </a:lnTo>
                <a:lnTo>
                  <a:pt x="179" y="71"/>
                </a:lnTo>
                <a:lnTo>
                  <a:pt x="344" y="71"/>
                </a:lnTo>
                <a:cubicBezTo>
                  <a:pt x="359" y="71"/>
                  <a:pt x="393" y="91"/>
                  <a:pt x="393" y="96"/>
                </a:cubicBezTo>
                <a:lnTo>
                  <a:pt x="393" y="358"/>
                </a:lnTo>
                <a:lnTo>
                  <a:pt x="465" y="358"/>
                </a:lnTo>
                <a:lnTo>
                  <a:pt x="465" y="96"/>
                </a:lnTo>
                <a:cubicBezTo>
                  <a:pt x="465" y="91"/>
                  <a:pt x="500" y="71"/>
                  <a:pt x="515" y="71"/>
                </a:cubicBezTo>
                <a:lnTo>
                  <a:pt x="680" y="71"/>
                </a:lnTo>
                <a:lnTo>
                  <a:pt x="680" y="465"/>
                </a:lnTo>
                <a:lnTo>
                  <a:pt x="486" y="465"/>
                </a:lnTo>
                <a:lnTo>
                  <a:pt x="476" y="476"/>
                </a:lnTo>
                <a:close/>
                <a:moveTo>
                  <a:pt x="752" y="537"/>
                </a:moveTo>
                <a:lnTo>
                  <a:pt x="752" y="0"/>
                </a:lnTo>
                <a:lnTo>
                  <a:pt x="486" y="0"/>
                </a:lnTo>
                <a:lnTo>
                  <a:pt x="476" y="10"/>
                </a:lnTo>
                <a:cubicBezTo>
                  <a:pt x="450" y="36"/>
                  <a:pt x="409" y="36"/>
                  <a:pt x="383" y="10"/>
                </a:cubicBezTo>
                <a:lnTo>
                  <a:pt x="373" y="0"/>
                </a:lnTo>
                <a:lnTo>
                  <a:pt x="107" y="0"/>
                </a:lnTo>
                <a:lnTo>
                  <a:pt x="107" y="537"/>
                </a:lnTo>
                <a:lnTo>
                  <a:pt x="344" y="537"/>
                </a:lnTo>
                <a:cubicBezTo>
                  <a:pt x="369" y="573"/>
                  <a:pt x="399" y="566"/>
                  <a:pt x="429" y="566"/>
                </a:cubicBezTo>
                <a:cubicBezTo>
                  <a:pt x="460" y="566"/>
                  <a:pt x="490" y="573"/>
                  <a:pt x="515" y="537"/>
                </a:cubicBezTo>
                <a:lnTo>
                  <a:pt x="752" y="537"/>
                </a:lnTo>
                <a:close/>
                <a:moveTo>
                  <a:pt x="71" y="573"/>
                </a:moveTo>
                <a:lnTo>
                  <a:pt x="71" y="107"/>
                </a:lnTo>
                <a:lnTo>
                  <a:pt x="0" y="107"/>
                </a:lnTo>
                <a:lnTo>
                  <a:pt x="0" y="644"/>
                </a:lnTo>
                <a:lnTo>
                  <a:pt x="394" y="644"/>
                </a:lnTo>
                <a:lnTo>
                  <a:pt x="322" y="573"/>
                </a:lnTo>
                <a:lnTo>
                  <a:pt x="71" y="5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0"/>
          <p:cNvSpPr>
            <a:spLocks noEditPoints="1"/>
          </p:cNvSpPr>
          <p:nvPr/>
        </p:nvSpPr>
        <p:spPr bwMode="auto">
          <a:xfrm>
            <a:off x="11601728" y="1744503"/>
            <a:ext cx="360248" cy="301287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8" name="Freeform 41"/>
          <p:cNvSpPr>
            <a:spLocks/>
          </p:cNvSpPr>
          <p:nvPr/>
        </p:nvSpPr>
        <p:spPr bwMode="auto">
          <a:xfrm>
            <a:off x="11600809" y="4756459"/>
            <a:ext cx="362085" cy="315984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69" name="Группа 68"/>
          <p:cNvGrpSpPr/>
          <p:nvPr/>
        </p:nvGrpSpPr>
        <p:grpSpPr>
          <a:xfrm>
            <a:off x="11614594" y="200960"/>
            <a:ext cx="334516" cy="361915"/>
            <a:chOff x="477468" y="2705515"/>
            <a:chExt cx="409903" cy="443477"/>
          </a:xfrm>
        </p:grpSpPr>
        <p:sp>
          <p:nvSpPr>
            <p:cNvPr id="70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1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72" name="Freeform 44"/>
          <p:cNvSpPr>
            <a:spLocks noEditPoints="1"/>
          </p:cNvSpPr>
          <p:nvPr/>
        </p:nvSpPr>
        <p:spPr bwMode="auto">
          <a:xfrm>
            <a:off x="11606322" y="5464056"/>
            <a:ext cx="351059" cy="380284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3" name="Freeform 45"/>
          <p:cNvSpPr>
            <a:spLocks noEditPoints="1"/>
          </p:cNvSpPr>
          <p:nvPr/>
        </p:nvSpPr>
        <p:spPr bwMode="auto">
          <a:xfrm>
            <a:off x="11601728" y="966788"/>
            <a:ext cx="360248" cy="347216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89" name="Freeform 46"/>
          <p:cNvSpPr>
            <a:spLocks noEditPoints="1"/>
          </p:cNvSpPr>
          <p:nvPr/>
        </p:nvSpPr>
        <p:spPr bwMode="auto">
          <a:xfrm>
            <a:off x="11655949" y="3977824"/>
            <a:ext cx="251807" cy="363751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5" name="Freeform 52"/>
          <p:cNvSpPr>
            <a:spLocks noEditPoints="1"/>
          </p:cNvSpPr>
          <p:nvPr/>
        </p:nvSpPr>
        <p:spPr bwMode="auto">
          <a:xfrm>
            <a:off x="11605404" y="3223075"/>
            <a:ext cx="352896" cy="36375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Freeform 53"/>
          <p:cNvSpPr>
            <a:spLocks noEditPoints="1"/>
          </p:cNvSpPr>
          <p:nvPr/>
        </p:nvSpPr>
        <p:spPr bwMode="auto">
          <a:xfrm>
            <a:off x="11594376" y="6260448"/>
            <a:ext cx="374952" cy="327005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115" name="AutoShape 4"/>
          <p:cNvSpPr>
            <a:spLocks noChangeAspect="1" noChangeArrowheads="1" noTextEdit="1"/>
          </p:cNvSpPr>
          <p:nvPr/>
        </p:nvSpPr>
        <p:spPr bwMode="auto">
          <a:xfrm>
            <a:off x="5844301" y="1808388"/>
            <a:ext cx="918665" cy="317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79" name="Группа 78"/>
          <p:cNvGrpSpPr/>
          <p:nvPr/>
        </p:nvGrpSpPr>
        <p:grpSpPr>
          <a:xfrm>
            <a:off x="105665" y="49921"/>
            <a:ext cx="1268960" cy="438775"/>
            <a:chOff x="254665" y="195486"/>
            <a:chExt cx="951720" cy="329081"/>
          </a:xfrm>
        </p:grpSpPr>
        <p:sp>
          <p:nvSpPr>
            <p:cNvPr id="80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3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4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5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6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7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8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0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1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2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3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4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494785"/>
            <a:ext cx="4421068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5" name="Рисунок 4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5016" y="1852363"/>
            <a:ext cx="2071618" cy="2730971"/>
          </a:xfrm>
          <a:prstGeom prst="rect">
            <a:avLst/>
          </a:prstGeom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7" name="Рисунок 4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814" y="850411"/>
            <a:ext cx="2007439" cy="2736415"/>
          </a:xfrm>
          <a:prstGeom prst="rect">
            <a:avLst/>
          </a:prstGeom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0" name="Прямоугольник 49"/>
          <p:cNvSpPr/>
          <p:nvPr/>
        </p:nvSpPr>
        <p:spPr>
          <a:xfrm>
            <a:off x="1896491" y="112738"/>
            <a:ext cx="535915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>
                <a:solidFill>
                  <a:srgbClr val="002060"/>
                </a:solidFill>
                <a:latin typeface="Carlito"/>
              </a:rPr>
              <a:t>КАРТОГРАФИЧЕСКИЙ ТРЕНАЖЕР</a:t>
            </a:r>
          </a:p>
        </p:txBody>
      </p:sp>
      <p:pic>
        <p:nvPicPr>
          <p:cNvPr id="51" name="Picture 2" descr="http://qrcoder.ru/code/?https%3A%2F%2Fshop.prosv.ru%2Fsearch%3Fq%3D%25D0%25BA%25D0%25B0%25D1%2580%25D1%2582%25D0%25BE%25D0%25B3%25D1%2580%25D0%25B0%25D1%2584%25D0%25B8%25D1%2587%25D0%25B5%25D1%2581%25D0%25BA%25D0%25B8%25D0%25B9%2B%25D1%2582%25D1%2580%25D0%25B5%25D0%25BD%25D0%25B0%25D0%25B6%25D1%2591%25D1%2580&amp;10&amp;0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90" t="3864" r="4973" b="3984"/>
          <a:stretch/>
        </p:blipFill>
        <p:spPr bwMode="auto">
          <a:xfrm>
            <a:off x="570905" y="4117528"/>
            <a:ext cx="1802168" cy="18465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Прямоугольник 52"/>
          <p:cNvSpPr/>
          <p:nvPr/>
        </p:nvSpPr>
        <p:spPr>
          <a:xfrm>
            <a:off x="5182022" y="1880143"/>
            <a:ext cx="5912454" cy="24622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dirty="0"/>
              <a:t>Представляет собой рабочую тетрадь с заданиями картографического содержания.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dirty="0"/>
              <a:t>Задания группируются по тематическому признаку и могут быть использованы при работе с любой линией учебников из Федерального перечня.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dirty="0"/>
              <a:t>Тренажёр не только поможет закрепить полученные учеником на уроке знания и умения, но и научит читать и анализировать карты.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675016" y="4652328"/>
            <a:ext cx="2317686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i="1" dirty="0"/>
              <a:t>Авторы</a:t>
            </a:r>
            <a:r>
              <a:rPr lang="ru-RU" sz="1400" dirty="0"/>
              <a:t> О.В. Крылова, </a:t>
            </a:r>
          </a:p>
          <a:p>
            <a:r>
              <a:rPr lang="ru-RU" sz="1400" dirty="0"/>
              <a:t>                 В.А. </a:t>
            </a:r>
            <a:r>
              <a:rPr lang="ru-RU" sz="1400" dirty="0" err="1"/>
              <a:t>Неходцев</a:t>
            </a:r>
            <a:r>
              <a:rPr lang="ru-RU" sz="1400" dirty="0"/>
              <a:t>,  </a:t>
            </a:r>
          </a:p>
          <a:p>
            <a:r>
              <a:rPr lang="ru-RU" sz="1400" dirty="0"/>
              <a:t>                 А.Н. Приваловский</a:t>
            </a:r>
            <a:endParaRPr lang="ru-RU" sz="1400" b="1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2956264" y="804269"/>
            <a:ext cx="819334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2000" dirty="0"/>
              <a:t>Универсальное пособие нового поколения для </a:t>
            </a:r>
            <a:r>
              <a:rPr lang="ru-RU" sz="2000" b="1" i="1" dirty="0"/>
              <a:t>формирования</a:t>
            </a:r>
            <a:r>
              <a:rPr lang="ru-RU" sz="2000" dirty="0"/>
              <a:t> картографической грамотности учащихся. </a:t>
            </a:r>
          </a:p>
        </p:txBody>
      </p:sp>
      <p:cxnSp>
        <p:nvCxnSpPr>
          <p:cNvPr id="54" name="Прямая соединительная линия 53"/>
          <p:cNvCxnSpPr/>
          <p:nvPr/>
        </p:nvCxnSpPr>
        <p:spPr>
          <a:xfrm>
            <a:off x="1674328" y="604268"/>
            <a:ext cx="9701341" cy="15932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1693564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44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xmlns="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11375669" y="2257824"/>
            <a:ext cx="812363" cy="754751"/>
          </a:xfrm>
          <a:prstGeom prst="rect">
            <a:avLst/>
          </a:prstGeom>
          <a:solidFill>
            <a:srgbClr val="40D4E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3"/>
          <p:cNvSpPr>
            <a:spLocks noChangeArrowheads="1"/>
          </p:cNvSpPr>
          <p:nvPr/>
        </p:nvSpPr>
        <p:spPr bwMode="auto">
          <a:xfrm>
            <a:off x="11375669" y="5276823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4"/>
          <p:cNvSpPr>
            <a:spLocks noChangeArrowheads="1"/>
          </p:cNvSpPr>
          <p:nvPr/>
        </p:nvSpPr>
        <p:spPr bwMode="auto">
          <a:xfrm>
            <a:off x="11376586" y="4522072"/>
            <a:ext cx="812363" cy="754751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17"/>
          <p:cNvSpPr>
            <a:spLocks noChangeArrowheads="1"/>
          </p:cNvSpPr>
          <p:nvPr/>
        </p:nvSpPr>
        <p:spPr bwMode="auto">
          <a:xfrm>
            <a:off x="11375670" y="-4589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19"/>
          <p:cNvSpPr>
            <a:spLocks noChangeArrowheads="1"/>
          </p:cNvSpPr>
          <p:nvPr/>
        </p:nvSpPr>
        <p:spPr bwMode="auto">
          <a:xfrm>
            <a:off x="11376586" y="3012572"/>
            <a:ext cx="812363" cy="754751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1"/>
          <p:cNvSpPr>
            <a:spLocks noChangeArrowheads="1"/>
          </p:cNvSpPr>
          <p:nvPr/>
        </p:nvSpPr>
        <p:spPr bwMode="auto">
          <a:xfrm>
            <a:off x="11376586" y="6031572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2"/>
          <p:cNvSpPr>
            <a:spLocks noChangeArrowheads="1"/>
          </p:cNvSpPr>
          <p:nvPr/>
        </p:nvSpPr>
        <p:spPr bwMode="auto">
          <a:xfrm>
            <a:off x="11375670" y="1502768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2" name="Rectangle 25"/>
          <p:cNvSpPr>
            <a:spLocks noChangeArrowheads="1"/>
          </p:cNvSpPr>
          <p:nvPr/>
        </p:nvSpPr>
        <p:spPr bwMode="auto">
          <a:xfrm>
            <a:off x="11376586" y="3767322"/>
            <a:ext cx="812363" cy="754751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29"/>
          <p:cNvSpPr>
            <a:spLocks noChangeArrowheads="1"/>
          </p:cNvSpPr>
          <p:nvPr/>
        </p:nvSpPr>
        <p:spPr bwMode="auto">
          <a:xfrm>
            <a:off x="11375670" y="748019"/>
            <a:ext cx="812363" cy="754751"/>
          </a:xfrm>
          <a:prstGeom prst="rect">
            <a:avLst/>
          </a:prstGeom>
          <a:solidFill>
            <a:srgbClr val="9ED44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2"/>
          <p:cNvSpPr>
            <a:spLocks noEditPoints="1"/>
          </p:cNvSpPr>
          <p:nvPr/>
        </p:nvSpPr>
        <p:spPr bwMode="auto">
          <a:xfrm>
            <a:off x="11600809" y="2514255"/>
            <a:ext cx="362085" cy="271895"/>
          </a:xfrm>
          <a:custGeom>
            <a:avLst/>
            <a:gdLst>
              <a:gd name="T0" fmla="*/ 787 w 859"/>
              <a:gd name="T1" fmla="*/ 107 h 644"/>
              <a:gd name="T2" fmla="*/ 787 w 859"/>
              <a:gd name="T3" fmla="*/ 573 h 644"/>
              <a:gd name="T4" fmla="*/ 537 w 859"/>
              <a:gd name="T5" fmla="*/ 573 h 644"/>
              <a:gd name="T6" fmla="*/ 465 w 859"/>
              <a:gd name="T7" fmla="*/ 644 h 644"/>
              <a:gd name="T8" fmla="*/ 859 w 859"/>
              <a:gd name="T9" fmla="*/ 644 h 644"/>
              <a:gd name="T10" fmla="*/ 859 w 859"/>
              <a:gd name="T11" fmla="*/ 107 h 644"/>
              <a:gd name="T12" fmla="*/ 787 w 859"/>
              <a:gd name="T13" fmla="*/ 107 h 644"/>
              <a:gd name="T14" fmla="*/ 476 w 859"/>
              <a:gd name="T15" fmla="*/ 476 h 644"/>
              <a:gd name="T16" fmla="*/ 383 w 859"/>
              <a:gd name="T17" fmla="*/ 476 h 644"/>
              <a:gd name="T18" fmla="*/ 373 w 859"/>
              <a:gd name="T19" fmla="*/ 465 h 644"/>
              <a:gd name="T20" fmla="*/ 179 w 859"/>
              <a:gd name="T21" fmla="*/ 465 h 644"/>
              <a:gd name="T22" fmla="*/ 179 w 859"/>
              <a:gd name="T23" fmla="*/ 71 h 644"/>
              <a:gd name="T24" fmla="*/ 344 w 859"/>
              <a:gd name="T25" fmla="*/ 71 h 644"/>
              <a:gd name="T26" fmla="*/ 393 w 859"/>
              <a:gd name="T27" fmla="*/ 96 h 644"/>
              <a:gd name="T28" fmla="*/ 393 w 859"/>
              <a:gd name="T29" fmla="*/ 358 h 644"/>
              <a:gd name="T30" fmla="*/ 465 w 859"/>
              <a:gd name="T31" fmla="*/ 358 h 644"/>
              <a:gd name="T32" fmla="*/ 465 w 859"/>
              <a:gd name="T33" fmla="*/ 96 h 644"/>
              <a:gd name="T34" fmla="*/ 515 w 859"/>
              <a:gd name="T35" fmla="*/ 71 h 644"/>
              <a:gd name="T36" fmla="*/ 680 w 859"/>
              <a:gd name="T37" fmla="*/ 71 h 644"/>
              <a:gd name="T38" fmla="*/ 680 w 859"/>
              <a:gd name="T39" fmla="*/ 465 h 644"/>
              <a:gd name="T40" fmla="*/ 486 w 859"/>
              <a:gd name="T41" fmla="*/ 465 h 644"/>
              <a:gd name="T42" fmla="*/ 476 w 859"/>
              <a:gd name="T43" fmla="*/ 476 h 644"/>
              <a:gd name="T44" fmla="*/ 752 w 859"/>
              <a:gd name="T45" fmla="*/ 537 h 644"/>
              <a:gd name="T46" fmla="*/ 752 w 859"/>
              <a:gd name="T47" fmla="*/ 0 h 644"/>
              <a:gd name="T48" fmla="*/ 486 w 859"/>
              <a:gd name="T49" fmla="*/ 0 h 644"/>
              <a:gd name="T50" fmla="*/ 476 w 859"/>
              <a:gd name="T51" fmla="*/ 10 h 644"/>
              <a:gd name="T52" fmla="*/ 383 w 859"/>
              <a:gd name="T53" fmla="*/ 10 h 644"/>
              <a:gd name="T54" fmla="*/ 373 w 859"/>
              <a:gd name="T55" fmla="*/ 0 h 644"/>
              <a:gd name="T56" fmla="*/ 107 w 859"/>
              <a:gd name="T57" fmla="*/ 0 h 644"/>
              <a:gd name="T58" fmla="*/ 107 w 859"/>
              <a:gd name="T59" fmla="*/ 537 h 644"/>
              <a:gd name="T60" fmla="*/ 344 w 859"/>
              <a:gd name="T61" fmla="*/ 537 h 644"/>
              <a:gd name="T62" fmla="*/ 429 w 859"/>
              <a:gd name="T63" fmla="*/ 566 h 644"/>
              <a:gd name="T64" fmla="*/ 515 w 859"/>
              <a:gd name="T65" fmla="*/ 537 h 644"/>
              <a:gd name="T66" fmla="*/ 752 w 859"/>
              <a:gd name="T67" fmla="*/ 537 h 644"/>
              <a:gd name="T68" fmla="*/ 71 w 859"/>
              <a:gd name="T69" fmla="*/ 573 h 644"/>
              <a:gd name="T70" fmla="*/ 71 w 859"/>
              <a:gd name="T71" fmla="*/ 107 h 644"/>
              <a:gd name="T72" fmla="*/ 0 w 859"/>
              <a:gd name="T73" fmla="*/ 107 h 644"/>
              <a:gd name="T74" fmla="*/ 0 w 859"/>
              <a:gd name="T75" fmla="*/ 644 h 644"/>
              <a:gd name="T76" fmla="*/ 394 w 859"/>
              <a:gd name="T77" fmla="*/ 644 h 644"/>
              <a:gd name="T78" fmla="*/ 322 w 859"/>
              <a:gd name="T79" fmla="*/ 573 h 644"/>
              <a:gd name="T80" fmla="*/ 71 w 859"/>
              <a:gd name="T81" fmla="*/ 573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9" h="644">
                <a:moveTo>
                  <a:pt x="787" y="107"/>
                </a:moveTo>
                <a:lnTo>
                  <a:pt x="787" y="573"/>
                </a:lnTo>
                <a:lnTo>
                  <a:pt x="537" y="573"/>
                </a:lnTo>
                <a:lnTo>
                  <a:pt x="465" y="644"/>
                </a:lnTo>
                <a:lnTo>
                  <a:pt x="859" y="644"/>
                </a:lnTo>
                <a:lnTo>
                  <a:pt x="859" y="107"/>
                </a:lnTo>
                <a:lnTo>
                  <a:pt x="787" y="107"/>
                </a:lnTo>
                <a:close/>
                <a:moveTo>
                  <a:pt x="476" y="476"/>
                </a:moveTo>
                <a:cubicBezTo>
                  <a:pt x="450" y="501"/>
                  <a:pt x="409" y="501"/>
                  <a:pt x="383" y="476"/>
                </a:cubicBezTo>
                <a:lnTo>
                  <a:pt x="373" y="465"/>
                </a:lnTo>
                <a:lnTo>
                  <a:pt x="179" y="465"/>
                </a:lnTo>
                <a:lnTo>
                  <a:pt x="179" y="71"/>
                </a:lnTo>
                <a:lnTo>
                  <a:pt x="344" y="71"/>
                </a:lnTo>
                <a:cubicBezTo>
                  <a:pt x="359" y="71"/>
                  <a:pt x="393" y="91"/>
                  <a:pt x="393" y="96"/>
                </a:cubicBezTo>
                <a:lnTo>
                  <a:pt x="393" y="358"/>
                </a:lnTo>
                <a:lnTo>
                  <a:pt x="465" y="358"/>
                </a:lnTo>
                <a:lnTo>
                  <a:pt x="465" y="96"/>
                </a:lnTo>
                <a:cubicBezTo>
                  <a:pt x="465" y="91"/>
                  <a:pt x="500" y="71"/>
                  <a:pt x="515" y="71"/>
                </a:cubicBezTo>
                <a:lnTo>
                  <a:pt x="680" y="71"/>
                </a:lnTo>
                <a:lnTo>
                  <a:pt x="680" y="465"/>
                </a:lnTo>
                <a:lnTo>
                  <a:pt x="486" y="465"/>
                </a:lnTo>
                <a:lnTo>
                  <a:pt x="476" y="476"/>
                </a:lnTo>
                <a:close/>
                <a:moveTo>
                  <a:pt x="752" y="537"/>
                </a:moveTo>
                <a:lnTo>
                  <a:pt x="752" y="0"/>
                </a:lnTo>
                <a:lnTo>
                  <a:pt x="486" y="0"/>
                </a:lnTo>
                <a:lnTo>
                  <a:pt x="476" y="10"/>
                </a:lnTo>
                <a:cubicBezTo>
                  <a:pt x="450" y="36"/>
                  <a:pt x="409" y="36"/>
                  <a:pt x="383" y="10"/>
                </a:cubicBezTo>
                <a:lnTo>
                  <a:pt x="373" y="0"/>
                </a:lnTo>
                <a:lnTo>
                  <a:pt x="107" y="0"/>
                </a:lnTo>
                <a:lnTo>
                  <a:pt x="107" y="537"/>
                </a:lnTo>
                <a:lnTo>
                  <a:pt x="344" y="537"/>
                </a:lnTo>
                <a:cubicBezTo>
                  <a:pt x="369" y="573"/>
                  <a:pt x="399" y="566"/>
                  <a:pt x="429" y="566"/>
                </a:cubicBezTo>
                <a:cubicBezTo>
                  <a:pt x="460" y="566"/>
                  <a:pt x="490" y="573"/>
                  <a:pt x="515" y="537"/>
                </a:cubicBezTo>
                <a:lnTo>
                  <a:pt x="752" y="537"/>
                </a:lnTo>
                <a:close/>
                <a:moveTo>
                  <a:pt x="71" y="573"/>
                </a:moveTo>
                <a:lnTo>
                  <a:pt x="71" y="107"/>
                </a:lnTo>
                <a:lnTo>
                  <a:pt x="0" y="107"/>
                </a:lnTo>
                <a:lnTo>
                  <a:pt x="0" y="644"/>
                </a:lnTo>
                <a:lnTo>
                  <a:pt x="394" y="644"/>
                </a:lnTo>
                <a:lnTo>
                  <a:pt x="322" y="573"/>
                </a:lnTo>
                <a:lnTo>
                  <a:pt x="71" y="5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0"/>
          <p:cNvSpPr>
            <a:spLocks noEditPoints="1"/>
          </p:cNvSpPr>
          <p:nvPr/>
        </p:nvSpPr>
        <p:spPr bwMode="auto">
          <a:xfrm>
            <a:off x="11601728" y="1744503"/>
            <a:ext cx="360248" cy="301287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8" name="Freeform 41"/>
          <p:cNvSpPr>
            <a:spLocks/>
          </p:cNvSpPr>
          <p:nvPr/>
        </p:nvSpPr>
        <p:spPr bwMode="auto">
          <a:xfrm>
            <a:off x="11600809" y="4756459"/>
            <a:ext cx="362085" cy="315984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69" name="Группа 68"/>
          <p:cNvGrpSpPr/>
          <p:nvPr/>
        </p:nvGrpSpPr>
        <p:grpSpPr>
          <a:xfrm>
            <a:off x="11614594" y="200960"/>
            <a:ext cx="334516" cy="361915"/>
            <a:chOff x="477468" y="2705515"/>
            <a:chExt cx="409903" cy="443477"/>
          </a:xfrm>
        </p:grpSpPr>
        <p:sp>
          <p:nvSpPr>
            <p:cNvPr id="70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1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72" name="Freeform 44"/>
          <p:cNvSpPr>
            <a:spLocks noEditPoints="1"/>
          </p:cNvSpPr>
          <p:nvPr/>
        </p:nvSpPr>
        <p:spPr bwMode="auto">
          <a:xfrm>
            <a:off x="11606322" y="5464056"/>
            <a:ext cx="351059" cy="380284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3" name="Freeform 45"/>
          <p:cNvSpPr>
            <a:spLocks noEditPoints="1"/>
          </p:cNvSpPr>
          <p:nvPr/>
        </p:nvSpPr>
        <p:spPr bwMode="auto">
          <a:xfrm>
            <a:off x="11601728" y="966788"/>
            <a:ext cx="360248" cy="347216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89" name="Freeform 46"/>
          <p:cNvSpPr>
            <a:spLocks noEditPoints="1"/>
          </p:cNvSpPr>
          <p:nvPr/>
        </p:nvSpPr>
        <p:spPr bwMode="auto">
          <a:xfrm>
            <a:off x="11655949" y="3977824"/>
            <a:ext cx="251807" cy="363751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5" name="Freeform 52"/>
          <p:cNvSpPr>
            <a:spLocks noEditPoints="1"/>
          </p:cNvSpPr>
          <p:nvPr/>
        </p:nvSpPr>
        <p:spPr bwMode="auto">
          <a:xfrm>
            <a:off x="11605404" y="3223075"/>
            <a:ext cx="352896" cy="36375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Freeform 53"/>
          <p:cNvSpPr>
            <a:spLocks noEditPoints="1"/>
          </p:cNvSpPr>
          <p:nvPr/>
        </p:nvSpPr>
        <p:spPr bwMode="auto">
          <a:xfrm>
            <a:off x="11594376" y="6260448"/>
            <a:ext cx="374952" cy="327005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115" name="AutoShape 4"/>
          <p:cNvSpPr>
            <a:spLocks noChangeAspect="1" noChangeArrowheads="1" noTextEdit="1"/>
          </p:cNvSpPr>
          <p:nvPr/>
        </p:nvSpPr>
        <p:spPr bwMode="auto">
          <a:xfrm>
            <a:off x="5844301" y="1808388"/>
            <a:ext cx="918665" cy="317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79" name="Группа 78"/>
          <p:cNvGrpSpPr/>
          <p:nvPr/>
        </p:nvGrpSpPr>
        <p:grpSpPr>
          <a:xfrm>
            <a:off x="105665" y="49921"/>
            <a:ext cx="1268960" cy="438775"/>
            <a:chOff x="254665" y="195486"/>
            <a:chExt cx="951720" cy="329081"/>
          </a:xfrm>
        </p:grpSpPr>
        <p:sp>
          <p:nvSpPr>
            <p:cNvPr id="80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3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4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5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6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7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8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0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1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2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3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4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494785"/>
            <a:ext cx="4421068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5" name="Рисунок 7" descr="Изображение выглядит как текст, снимок экрана, зеленый&#10;&#10;Автоматически созданное описание"/>
          <p:cNvPicPr>
            <a:picLocks noChangeAspect="1"/>
          </p:cNvPicPr>
          <p:nvPr/>
        </p:nvPicPr>
        <p:blipFill>
          <a:blip r:embed="rId8"/>
          <a:stretch/>
        </p:blipFill>
        <p:spPr bwMode="auto">
          <a:xfrm>
            <a:off x="2636133" y="2247933"/>
            <a:ext cx="2138812" cy="2824904"/>
          </a:xfrm>
          <a:prstGeom prst="rect">
            <a:avLst/>
          </a:prstGeom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7" name="Рисунок 34"/>
          <p:cNvPicPr>
            <a:picLocks noChangeAspect="1"/>
          </p:cNvPicPr>
          <p:nvPr/>
        </p:nvPicPr>
        <p:blipFill>
          <a:blip r:embed="rId9"/>
          <a:stretch/>
        </p:blipFill>
        <p:spPr bwMode="auto">
          <a:xfrm>
            <a:off x="365630" y="1293594"/>
            <a:ext cx="2173866" cy="2824903"/>
          </a:xfrm>
          <a:prstGeom prst="rect">
            <a:avLst/>
          </a:prstGeom>
          <a:ln w="952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0" name="Прямоугольник 49"/>
          <p:cNvSpPr/>
          <p:nvPr/>
        </p:nvSpPr>
        <p:spPr>
          <a:xfrm>
            <a:off x="1895680" y="105725"/>
            <a:ext cx="842179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>
                <a:solidFill>
                  <a:srgbClr val="002060"/>
                </a:solidFill>
                <a:latin typeface="Carlito"/>
              </a:rPr>
              <a:t>СБОРНИК ЗАДАНИЙ И УПРАЖНЕНИЙ ПО ГЕОГРАФИИ</a:t>
            </a:r>
          </a:p>
        </p:txBody>
      </p:sp>
      <p:pic>
        <p:nvPicPr>
          <p:cNvPr id="51" name="Picture 2" descr="http://qrcoder.ru/code/?https%3A%2F%2Fshop.prosv.ru%2Fsearch%3Fq%3D%25D0%25BA%25D1%2580%25D1%258B%25D0%25BB%25D0%25BE%25D0%25B2%25D0%25B0%23%2Forderby%3D5%26q%3D%25D0%25BA%25D1%2580%25D1%258B%25D0%25BB%25D0%25BE%25D0%25B2%25D0%25B0%26sFilters%3D2%211720%3B8%212505%2C2506%3B&amp;10&amp;0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088" y="4341575"/>
            <a:ext cx="1801929" cy="18019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Прямоугольник 52"/>
          <p:cNvSpPr/>
          <p:nvPr/>
        </p:nvSpPr>
        <p:spPr>
          <a:xfrm>
            <a:off x="4969879" y="2194022"/>
            <a:ext cx="6175141" cy="313932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Задания и упражнения направлены на как формирование предметных (знаний и умений по географии), так и на достижение метапредметных результатов ( умения определять признаки объектов и явлений, самостоятельно формулировать определение, проводить исследования, моделировать и т.п.) в активной учебной деятельности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Задания и упражнения группируются по тематическому признаку и </a:t>
            </a:r>
            <a:r>
              <a:rPr lang="ru-RU" sz="1600" dirty="0"/>
              <a:t>сопровождаются</a:t>
            </a:r>
            <a:r>
              <a:rPr lang="ru-RU" dirty="0"/>
              <a:t> подробными теоретическими памятками</a:t>
            </a:r>
          </a:p>
          <a:p>
            <a:endParaRPr lang="ru-RU" dirty="0"/>
          </a:p>
        </p:txBody>
      </p:sp>
      <p:sp>
        <p:nvSpPr>
          <p:cNvPr id="54" name="Прямоугольник 53"/>
          <p:cNvSpPr/>
          <p:nvPr/>
        </p:nvSpPr>
        <p:spPr>
          <a:xfrm>
            <a:off x="2746226" y="1801634"/>
            <a:ext cx="181282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i="1" dirty="0"/>
              <a:t>Автор</a:t>
            </a:r>
            <a:r>
              <a:rPr lang="ru-RU" sz="1400" dirty="0"/>
              <a:t> </a:t>
            </a:r>
            <a:r>
              <a:rPr lang="ru-RU" sz="1400" dirty="0" err="1"/>
              <a:t>О.В.Крылова</a:t>
            </a:r>
            <a:r>
              <a:rPr lang="ru-RU" sz="1400" dirty="0"/>
              <a:t> 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3157061" y="811578"/>
            <a:ext cx="784237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/>
              <a:t>Пособия содержат систему заданий, направленных на формирование универсальных учебных действий (УУД) у школьников </a:t>
            </a:r>
          </a:p>
        </p:txBody>
      </p:sp>
      <p:cxnSp>
        <p:nvCxnSpPr>
          <p:cNvPr id="55" name="Прямая соединительная линия 54"/>
          <p:cNvCxnSpPr/>
          <p:nvPr/>
        </p:nvCxnSpPr>
        <p:spPr>
          <a:xfrm>
            <a:off x="1674328" y="604268"/>
            <a:ext cx="9701341" cy="15932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2326795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07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xmlns="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11375669" y="2257824"/>
            <a:ext cx="812363" cy="754751"/>
          </a:xfrm>
          <a:prstGeom prst="rect">
            <a:avLst/>
          </a:prstGeom>
          <a:solidFill>
            <a:srgbClr val="40D4E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3"/>
          <p:cNvSpPr>
            <a:spLocks noChangeArrowheads="1"/>
          </p:cNvSpPr>
          <p:nvPr/>
        </p:nvSpPr>
        <p:spPr bwMode="auto">
          <a:xfrm>
            <a:off x="11375669" y="5276823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4"/>
          <p:cNvSpPr>
            <a:spLocks noChangeArrowheads="1"/>
          </p:cNvSpPr>
          <p:nvPr/>
        </p:nvSpPr>
        <p:spPr bwMode="auto">
          <a:xfrm>
            <a:off x="11376586" y="4522072"/>
            <a:ext cx="812363" cy="754751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17"/>
          <p:cNvSpPr>
            <a:spLocks noChangeArrowheads="1"/>
          </p:cNvSpPr>
          <p:nvPr/>
        </p:nvSpPr>
        <p:spPr bwMode="auto">
          <a:xfrm>
            <a:off x="11375670" y="-4589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19"/>
          <p:cNvSpPr>
            <a:spLocks noChangeArrowheads="1"/>
          </p:cNvSpPr>
          <p:nvPr/>
        </p:nvSpPr>
        <p:spPr bwMode="auto">
          <a:xfrm>
            <a:off x="11376586" y="3012572"/>
            <a:ext cx="812363" cy="754751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1"/>
          <p:cNvSpPr>
            <a:spLocks noChangeArrowheads="1"/>
          </p:cNvSpPr>
          <p:nvPr/>
        </p:nvSpPr>
        <p:spPr bwMode="auto">
          <a:xfrm>
            <a:off x="11376586" y="6031572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2"/>
          <p:cNvSpPr>
            <a:spLocks noChangeArrowheads="1"/>
          </p:cNvSpPr>
          <p:nvPr/>
        </p:nvSpPr>
        <p:spPr bwMode="auto">
          <a:xfrm>
            <a:off x="11375670" y="1502768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2" name="Rectangle 25"/>
          <p:cNvSpPr>
            <a:spLocks noChangeArrowheads="1"/>
          </p:cNvSpPr>
          <p:nvPr/>
        </p:nvSpPr>
        <p:spPr bwMode="auto">
          <a:xfrm>
            <a:off x="11376586" y="3767322"/>
            <a:ext cx="812363" cy="754751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29"/>
          <p:cNvSpPr>
            <a:spLocks noChangeArrowheads="1"/>
          </p:cNvSpPr>
          <p:nvPr/>
        </p:nvSpPr>
        <p:spPr bwMode="auto">
          <a:xfrm>
            <a:off x="11375670" y="748019"/>
            <a:ext cx="812363" cy="754751"/>
          </a:xfrm>
          <a:prstGeom prst="rect">
            <a:avLst/>
          </a:prstGeom>
          <a:solidFill>
            <a:srgbClr val="9ED44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2"/>
          <p:cNvSpPr>
            <a:spLocks noEditPoints="1"/>
          </p:cNvSpPr>
          <p:nvPr/>
        </p:nvSpPr>
        <p:spPr bwMode="auto">
          <a:xfrm>
            <a:off x="11600809" y="2514255"/>
            <a:ext cx="362085" cy="271895"/>
          </a:xfrm>
          <a:custGeom>
            <a:avLst/>
            <a:gdLst>
              <a:gd name="T0" fmla="*/ 787 w 859"/>
              <a:gd name="T1" fmla="*/ 107 h 644"/>
              <a:gd name="T2" fmla="*/ 787 w 859"/>
              <a:gd name="T3" fmla="*/ 573 h 644"/>
              <a:gd name="T4" fmla="*/ 537 w 859"/>
              <a:gd name="T5" fmla="*/ 573 h 644"/>
              <a:gd name="T6" fmla="*/ 465 w 859"/>
              <a:gd name="T7" fmla="*/ 644 h 644"/>
              <a:gd name="T8" fmla="*/ 859 w 859"/>
              <a:gd name="T9" fmla="*/ 644 h 644"/>
              <a:gd name="T10" fmla="*/ 859 w 859"/>
              <a:gd name="T11" fmla="*/ 107 h 644"/>
              <a:gd name="T12" fmla="*/ 787 w 859"/>
              <a:gd name="T13" fmla="*/ 107 h 644"/>
              <a:gd name="T14" fmla="*/ 476 w 859"/>
              <a:gd name="T15" fmla="*/ 476 h 644"/>
              <a:gd name="T16" fmla="*/ 383 w 859"/>
              <a:gd name="T17" fmla="*/ 476 h 644"/>
              <a:gd name="T18" fmla="*/ 373 w 859"/>
              <a:gd name="T19" fmla="*/ 465 h 644"/>
              <a:gd name="T20" fmla="*/ 179 w 859"/>
              <a:gd name="T21" fmla="*/ 465 h 644"/>
              <a:gd name="T22" fmla="*/ 179 w 859"/>
              <a:gd name="T23" fmla="*/ 71 h 644"/>
              <a:gd name="T24" fmla="*/ 344 w 859"/>
              <a:gd name="T25" fmla="*/ 71 h 644"/>
              <a:gd name="T26" fmla="*/ 393 w 859"/>
              <a:gd name="T27" fmla="*/ 96 h 644"/>
              <a:gd name="T28" fmla="*/ 393 w 859"/>
              <a:gd name="T29" fmla="*/ 358 h 644"/>
              <a:gd name="T30" fmla="*/ 465 w 859"/>
              <a:gd name="T31" fmla="*/ 358 h 644"/>
              <a:gd name="T32" fmla="*/ 465 w 859"/>
              <a:gd name="T33" fmla="*/ 96 h 644"/>
              <a:gd name="T34" fmla="*/ 515 w 859"/>
              <a:gd name="T35" fmla="*/ 71 h 644"/>
              <a:gd name="T36" fmla="*/ 680 w 859"/>
              <a:gd name="T37" fmla="*/ 71 h 644"/>
              <a:gd name="T38" fmla="*/ 680 w 859"/>
              <a:gd name="T39" fmla="*/ 465 h 644"/>
              <a:gd name="T40" fmla="*/ 486 w 859"/>
              <a:gd name="T41" fmla="*/ 465 h 644"/>
              <a:gd name="T42" fmla="*/ 476 w 859"/>
              <a:gd name="T43" fmla="*/ 476 h 644"/>
              <a:gd name="T44" fmla="*/ 752 w 859"/>
              <a:gd name="T45" fmla="*/ 537 h 644"/>
              <a:gd name="T46" fmla="*/ 752 w 859"/>
              <a:gd name="T47" fmla="*/ 0 h 644"/>
              <a:gd name="T48" fmla="*/ 486 w 859"/>
              <a:gd name="T49" fmla="*/ 0 h 644"/>
              <a:gd name="T50" fmla="*/ 476 w 859"/>
              <a:gd name="T51" fmla="*/ 10 h 644"/>
              <a:gd name="T52" fmla="*/ 383 w 859"/>
              <a:gd name="T53" fmla="*/ 10 h 644"/>
              <a:gd name="T54" fmla="*/ 373 w 859"/>
              <a:gd name="T55" fmla="*/ 0 h 644"/>
              <a:gd name="T56" fmla="*/ 107 w 859"/>
              <a:gd name="T57" fmla="*/ 0 h 644"/>
              <a:gd name="T58" fmla="*/ 107 w 859"/>
              <a:gd name="T59" fmla="*/ 537 h 644"/>
              <a:gd name="T60" fmla="*/ 344 w 859"/>
              <a:gd name="T61" fmla="*/ 537 h 644"/>
              <a:gd name="T62" fmla="*/ 429 w 859"/>
              <a:gd name="T63" fmla="*/ 566 h 644"/>
              <a:gd name="T64" fmla="*/ 515 w 859"/>
              <a:gd name="T65" fmla="*/ 537 h 644"/>
              <a:gd name="T66" fmla="*/ 752 w 859"/>
              <a:gd name="T67" fmla="*/ 537 h 644"/>
              <a:gd name="T68" fmla="*/ 71 w 859"/>
              <a:gd name="T69" fmla="*/ 573 h 644"/>
              <a:gd name="T70" fmla="*/ 71 w 859"/>
              <a:gd name="T71" fmla="*/ 107 h 644"/>
              <a:gd name="T72" fmla="*/ 0 w 859"/>
              <a:gd name="T73" fmla="*/ 107 h 644"/>
              <a:gd name="T74" fmla="*/ 0 w 859"/>
              <a:gd name="T75" fmla="*/ 644 h 644"/>
              <a:gd name="T76" fmla="*/ 394 w 859"/>
              <a:gd name="T77" fmla="*/ 644 h 644"/>
              <a:gd name="T78" fmla="*/ 322 w 859"/>
              <a:gd name="T79" fmla="*/ 573 h 644"/>
              <a:gd name="T80" fmla="*/ 71 w 859"/>
              <a:gd name="T81" fmla="*/ 573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9" h="644">
                <a:moveTo>
                  <a:pt x="787" y="107"/>
                </a:moveTo>
                <a:lnTo>
                  <a:pt x="787" y="573"/>
                </a:lnTo>
                <a:lnTo>
                  <a:pt x="537" y="573"/>
                </a:lnTo>
                <a:lnTo>
                  <a:pt x="465" y="644"/>
                </a:lnTo>
                <a:lnTo>
                  <a:pt x="859" y="644"/>
                </a:lnTo>
                <a:lnTo>
                  <a:pt x="859" y="107"/>
                </a:lnTo>
                <a:lnTo>
                  <a:pt x="787" y="107"/>
                </a:lnTo>
                <a:close/>
                <a:moveTo>
                  <a:pt x="476" y="476"/>
                </a:moveTo>
                <a:cubicBezTo>
                  <a:pt x="450" y="501"/>
                  <a:pt x="409" y="501"/>
                  <a:pt x="383" y="476"/>
                </a:cubicBezTo>
                <a:lnTo>
                  <a:pt x="373" y="465"/>
                </a:lnTo>
                <a:lnTo>
                  <a:pt x="179" y="465"/>
                </a:lnTo>
                <a:lnTo>
                  <a:pt x="179" y="71"/>
                </a:lnTo>
                <a:lnTo>
                  <a:pt x="344" y="71"/>
                </a:lnTo>
                <a:cubicBezTo>
                  <a:pt x="359" y="71"/>
                  <a:pt x="393" y="91"/>
                  <a:pt x="393" y="96"/>
                </a:cubicBezTo>
                <a:lnTo>
                  <a:pt x="393" y="358"/>
                </a:lnTo>
                <a:lnTo>
                  <a:pt x="465" y="358"/>
                </a:lnTo>
                <a:lnTo>
                  <a:pt x="465" y="96"/>
                </a:lnTo>
                <a:cubicBezTo>
                  <a:pt x="465" y="91"/>
                  <a:pt x="500" y="71"/>
                  <a:pt x="515" y="71"/>
                </a:cubicBezTo>
                <a:lnTo>
                  <a:pt x="680" y="71"/>
                </a:lnTo>
                <a:lnTo>
                  <a:pt x="680" y="465"/>
                </a:lnTo>
                <a:lnTo>
                  <a:pt x="486" y="465"/>
                </a:lnTo>
                <a:lnTo>
                  <a:pt x="476" y="476"/>
                </a:lnTo>
                <a:close/>
                <a:moveTo>
                  <a:pt x="752" y="537"/>
                </a:moveTo>
                <a:lnTo>
                  <a:pt x="752" y="0"/>
                </a:lnTo>
                <a:lnTo>
                  <a:pt x="486" y="0"/>
                </a:lnTo>
                <a:lnTo>
                  <a:pt x="476" y="10"/>
                </a:lnTo>
                <a:cubicBezTo>
                  <a:pt x="450" y="36"/>
                  <a:pt x="409" y="36"/>
                  <a:pt x="383" y="10"/>
                </a:cubicBezTo>
                <a:lnTo>
                  <a:pt x="373" y="0"/>
                </a:lnTo>
                <a:lnTo>
                  <a:pt x="107" y="0"/>
                </a:lnTo>
                <a:lnTo>
                  <a:pt x="107" y="537"/>
                </a:lnTo>
                <a:lnTo>
                  <a:pt x="344" y="537"/>
                </a:lnTo>
                <a:cubicBezTo>
                  <a:pt x="369" y="573"/>
                  <a:pt x="399" y="566"/>
                  <a:pt x="429" y="566"/>
                </a:cubicBezTo>
                <a:cubicBezTo>
                  <a:pt x="460" y="566"/>
                  <a:pt x="490" y="573"/>
                  <a:pt x="515" y="537"/>
                </a:cubicBezTo>
                <a:lnTo>
                  <a:pt x="752" y="537"/>
                </a:lnTo>
                <a:close/>
                <a:moveTo>
                  <a:pt x="71" y="573"/>
                </a:moveTo>
                <a:lnTo>
                  <a:pt x="71" y="107"/>
                </a:lnTo>
                <a:lnTo>
                  <a:pt x="0" y="107"/>
                </a:lnTo>
                <a:lnTo>
                  <a:pt x="0" y="644"/>
                </a:lnTo>
                <a:lnTo>
                  <a:pt x="394" y="644"/>
                </a:lnTo>
                <a:lnTo>
                  <a:pt x="322" y="573"/>
                </a:lnTo>
                <a:lnTo>
                  <a:pt x="71" y="5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0"/>
          <p:cNvSpPr>
            <a:spLocks noEditPoints="1"/>
          </p:cNvSpPr>
          <p:nvPr/>
        </p:nvSpPr>
        <p:spPr bwMode="auto">
          <a:xfrm>
            <a:off x="11601728" y="1744503"/>
            <a:ext cx="360248" cy="301287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8" name="Freeform 41"/>
          <p:cNvSpPr>
            <a:spLocks/>
          </p:cNvSpPr>
          <p:nvPr/>
        </p:nvSpPr>
        <p:spPr bwMode="auto">
          <a:xfrm>
            <a:off x="11600809" y="4756459"/>
            <a:ext cx="362085" cy="315984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69" name="Группа 68"/>
          <p:cNvGrpSpPr/>
          <p:nvPr/>
        </p:nvGrpSpPr>
        <p:grpSpPr>
          <a:xfrm>
            <a:off x="11614594" y="200960"/>
            <a:ext cx="334516" cy="361915"/>
            <a:chOff x="477468" y="2705515"/>
            <a:chExt cx="409903" cy="443477"/>
          </a:xfrm>
        </p:grpSpPr>
        <p:sp>
          <p:nvSpPr>
            <p:cNvPr id="70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1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72" name="Freeform 44"/>
          <p:cNvSpPr>
            <a:spLocks noEditPoints="1"/>
          </p:cNvSpPr>
          <p:nvPr/>
        </p:nvSpPr>
        <p:spPr bwMode="auto">
          <a:xfrm>
            <a:off x="11606322" y="5464056"/>
            <a:ext cx="351059" cy="380284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3" name="Freeform 45"/>
          <p:cNvSpPr>
            <a:spLocks noEditPoints="1"/>
          </p:cNvSpPr>
          <p:nvPr/>
        </p:nvSpPr>
        <p:spPr bwMode="auto">
          <a:xfrm>
            <a:off x="11601728" y="966788"/>
            <a:ext cx="360248" cy="347216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89" name="Freeform 46"/>
          <p:cNvSpPr>
            <a:spLocks noEditPoints="1"/>
          </p:cNvSpPr>
          <p:nvPr/>
        </p:nvSpPr>
        <p:spPr bwMode="auto">
          <a:xfrm>
            <a:off x="11655949" y="3977824"/>
            <a:ext cx="251807" cy="363751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5" name="Freeform 52"/>
          <p:cNvSpPr>
            <a:spLocks noEditPoints="1"/>
          </p:cNvSpPr>
          <p:nvPr/>
        </p:nvSpPr>
        <p:spPr bwMode="auto">
          <a:xfrm>
            <a:off x="11605404" y="3223075"/>
            <a:ext cx="352896" cy="36375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Freeform 53"/>
          <p:cNvSpPr>
            <a:spLocks noEditPoints="1"/>
          </p:cNvSpPr>
          <p:nvPr/>
        </p:nvSpPr>
        <p:spPr bwMode="auto">
          <a:xfrm>
            <a:off x="11594376" y="6260448"/>
            <a:ext cx="374952" cy="327005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115" name="AutoShape 4"/>
          <p:cNvSpPr>
            <a:spLocks noChangeAspect="1" noChangeArrowheads="1" noTextEdit="1"/>
          </p:cNvSpPr>
          <p:nvPr/>
        </p:nvSpPr>
        <p:spPr bwMode="auto">
          <a:xfrm>
            <a:off x="5844301" y="1808388"/>
            <a:ext cx="918665" cy="317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79" name="Группа 78"/>
          <p:cNvGrpSpPr/>
          <p:nvPr/>
        </p:nvGrpSpPr>
        <p:grpSpPr>
          <a:xfrm>
            <a:off x="180337" y="226734"/>
            <a:ext cx="1268960" cy="438775"/>
            <a:chOff x="254665" y="195486"/>
            <a:chExt cx="951720" cy="329081"/>
          </a:xfrm>
        </p:grpSpPr>
        <p:sp>
          <p:nvSpPr>
            <p:cNvPr id="80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3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4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5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6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7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8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0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1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2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3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4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494785"/>
            <a:ext cx="4421068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5" name="Picture 2" descr="Изображение Экология. 10-11 классы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0046" y="1336419"/>
            <a:ext cx="2406255" cy="31890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2471966" y="85594"/>
            <a:ext cx="813940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>
                <a:solidFill>
                  <a:srgbClr val="002060"/>
                </a:solidFill>
                <a:latin typeface="Carlito"/>
              </a:rPr>
              <a:t>ЛИНИЯ УМК М.В. </a:t>
            </a:r>
            <a:r>
              <a:rPr lang="ru-RU" sz="2400" b="1" dirty="0" err="1">
                <a:solidFill>
                  <a:srgbClr val="002060"/>
                </a:solidFill>
                <a:latin typeface="Carlito"/>
              </a:rPr>
              <a:t>Аргуновой</a:t>
            </a:r>
            <a:r>
              <a:rPr lang="ru-RU" sz="2400" b="1" dirty="0">
                <a:solidFill>
                  <a:srgbClr val="002060"/>
                </a:solidFill>
                <a:latin typeface="Carlito"/>
              </a:rPr>
              <a:t> Экология. 10-11 классы</a:t>
            </a:r>
            <a:endParaRPr lang="ru-RU" sz="2400" b="1" i="0" dirty="0">
              <a:solidFill>
                <a:srgbClr val="002060"/>
              </a:solidFill>
              <a:effectLst/>
              <a:latin typeface="Carlito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4180425" y="1423386"/>
            <a:ext cx="6096000" cy="31085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spAutoFit/>
          </a:bodyPr>
          <a:lstStyle/>
          <a:p>
            <a:pPr lvl="0"/>
            <a:r>
              <a:rPr lang="ru-RU" sz="1600" b="1" i="1" dirty="0">
                <a:solidFill>
                  <a:prstClr val="black"/>
                </a:solidFill>
              </a:rPr>
              <a:t>            Ключевые преимущества учебнико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dirty="0">
              <a:solidFill>
                <a:srgbClr val="333333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333333"/>
                </a:solidFill>
              </a:rPr>
              <a:t>представлены ключевые экологические понятия и законы, а также материалы по фундаментальным научным трудам и международные документы, основанные на концепции устойчивого развития общества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333333"/>
                </a:solidFill>
              </a:rPr>
              <a:t>охватывает все разделы современной экологии: общую (классическую), социальную, прикладную экологию, — рассматриваемые на материале глобальных и региональных экологических проблем.</a:t>
            </a:r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645577" y="5422153"/>
            <a:ext cx="269585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latin typeface="Calibri" panose="020F0502020204030204" pitchFamily="34" charset="0"/>
                <a:cs typeface="Calibri" panose="020F0502020204030204" pitchFamily="34" charset="0"/>
              </a:rPr>
              <a:t>Состав УМК:</a:t>
            </a:r>
          </a:p>
          <a:p>
            <a:pPr marL="171450" lvl="0" indent="-1714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методическое пособие            </a:t>
            </a:r>
          </a:p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ЭФУ</a:t>
            </a:r>
          </a:p>
        </p:txBody>
      </p:sp>
      <p:sp>
        <p:nvSpPr>
          <p:cNvPr id="50" name="object 39"/>
          <p:cNvSpPr txBox="1"/>
          <p:nvPr/>
        </p:nvSpPr>
        <p:spPr>
          <a:xfrm>
            <a:off x="1120563" y="4696534"/>
            <a:ext cx="1538944" cy="162865"/>
          </a:xfrm>
          <a:prstGeom prst="rect">
            <a:avLst/>
          </a:prstGeom>
          <a:solidFill>
            <a:srgbClr val="2C3493"/>
          </a:solidFill>
        </p:spPr>
        <p:txBody>
          <a:bodyPr vert="horz" wrap="square" lIns="0" tIns="1270" rIns="0" bIns="0" rtlCol="0">
            <a:spAutoFit/>
          </a:bodyPr>
          <a:lstStyle/>
          <a:p>
            <a:pPr marL="199390">
              <a:lnSpc>
                <a:spcPct val="100000"/>
              </a:lnSpc>
              <a:spcBef>
                <a:spcPts val="5"/>
              </a:spcBef>
            </a:pPr>
            <a:r>
              <a:rPr sz="1050" b="1" spc="-5" dirty="0">
                <a:solidFill>
                  <a:srgbClr val="FFFFFF"/>
                </a:solidFill>
                <a:latin typeface="Carlito"/>
                <a:cs typeface="Carlito"/>
              </a:rPr>
              <a:t>ФП №</a:t>
            </a:r>
            <a:r>
              <a:rPr sz="1050" b="1" spc="210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lang="ru-RU" sz="1050" b="1" spc="-10" dirty="0">
                <a:solidFill>
                  <a:srgbClr val="FFFFFF"/>
                </a:solidFill>
                <a:latin typeface="Carlito"/>
                <a:cs typeface="Carlito"/>
              </a:rPr>
              <a:t>1.1.3.6.2.1.1</a:t>
            </a:r>
            <a:endParaRPr sz="1050" dirty="0">
              <a:latin typeface="Carlito"/>
              <a:cs typeface="Carlito"/>
            </a:endParaRPr>
          </a:p>
        </p:txBody>
      </p:sp>
      <p:cxnSp>
        <p:nvCxnSpPr>
          <p:cNvPr id="51" name="Прямая соединительная линия 50"/>
          <p:cNvCxnSpPr/>
          <p:nvPr/>
        </p:nvCxnSpPr>
        <p:spPr>
          <a:xfrm>
            <a:off x="1568759" y="643804"/>
            <a:ext cx="9806910" cy="19666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083096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18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xmlns="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11375669" y="2257824"/>
            <a:ext cx="812363" cy="754751"/>
          </a:xfrm>
          <a:prstGeom prst="rect">
            <a:avLst/>
          </a:prstGeom>
          <a:solidFill>
            <a:srgbClr val="40D4E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3"/>
          <p:cNvSpPr>
            <a:spLocks noChangeArrowheads="1"/>
          </p:cNvSpPr>
          <p:nvPr/>
        </p:nvSpPr>
        <p:spPr bwMode="auto">
          <a:xfrm>
            <a:off x="11375669" y="5276823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4"/>
          <p:cNvSpPr>
            <a:spLocks noChangeArrowheads="1"/>
          </p:cNvSpPr>
          <p:nvPr/>
        </p:nvSpPr>
        <p:spPr bwMode="auto">
          <a:xfrm>
            <a:off x="11376586" y="4522072"/>
            <a:ext cx="812363" cy="754751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17"/>
          <p:cNvSpPr>
            <a:spLocks noChangeArrowheads="1"/>
          </p:cNvSpPr>
          <p:nvPr/>
        </p:nvSpPr>
        <p:spPr bwMode="auto">
          <a:xfrm>
            <a:off x="11375670" y="-4589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19"/>
          <p:cNvSpPr>
            <a:spLocks noChangeArrowheads="1"/>
          </p:cNvSpPr>
          <p:nvPr/>
        </p:nvSpPr>
        <p:spPr bwMode="auto">
          <a:xfrm>
            <a:off x="11376586" y="3012572"/>
            <a:ext cx="812363" cy="754751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1"/>
          <p:cNvSpPr>
            <a:spLocks noChangeArrowheads="1"/>
          </p:cNvSpPr>
          <p:nvPr/>
        </p:nvSpPr>
        <p:spPr bwMode="auto">
          <a:xfrm>
            <a:off x="11376586" y="6031572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2"/>
          <p:cNvSpPr>
            <a:spLocks noChangeArrowheads="1"/>
          </p:cNvSpPr>
          <p:nvPr/>
        </p:nvSpPr>
        <p:spPr bwMode="auto">
          <a:xfrm>
            <a:off x="11375670" y="1502768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2" name="Rectangle 25"/>
          <p:cNvSpPr>
            <a:spLocks noChangeArrowheads="1"/>
          </p:cNvSpPr>
          <p:nvPr/>
        </p:nvSpPr>
        <p:spPr bwMode="auto">
          <a:xfrm>
            <a:off x="11376586" y="3767322"/>
            <a:ext cx="812363" cy="754751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29"/>
          <p:cNvSpPr>
            <a:spLocks noChangeArrowheads="1"/>
          </p:cNvSpPr>
          <p:nvPr/>
        </p:nvSpPr>
        <p:spPr bwMode="auto">
          <a:xfrm>
            <a:off x="11375670" y="748019"/>
            <a:ext cx="812363" cy="754751"/>
          </a:xfrm>
          <a:prstGeom prst="rect">
            <a:avLst/>
          </a:prstGeom>
          <a:solidFill>
            <a:srgbClr val="9ED44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2"/>
          <p:cNvSpPr>
            <a:spLocks noEditPoints="1"/>
          </p:cNvSpPr>
          <p:nvPr/>
        </p:nvSpPr>
        <p:spPr bwMode="auto">
          <a:xfrm>
            <a:off x="11600809" y="2514255"/>
            <a:ext cx="362085" cy="271895"/>
          </a:xfrm>
          <a:custGeom>
            <a:avLst/>
            <a:gdLst>
              <a:gd name="T0" fmla="*/ 787 w 859"/>
              <a:gd name="T1" fmla="*/ 107 h 644"/>
              <a:gd name="T2" fmla="*/ 787 w 859"/>
              <a:gd name="T3" fmla="*/ 573 h 644"/>
              <a:gd name="T4" fmla="*/ 537 w 859"/>
              <a:gd name="T5" fmla="*/ 573 h 644"/>
              <a:gd name="T6" fmla="*/ 465 w 859"/>
              <a:gd name="T7" fmla="*/ 644 h 644"/>
              <a:gd name="T8" fmla="*/ 859 w 859"/>
              <a:gd name="T9" fmla="*/ 644 h 644"/>
              <a:gd name="T10" fmla="*/ 859 w 859"/>
              <a:gd name="T11" fmla="*/ 107 h 644"/>
              <a:gd name="T12" fmla="*/ 787 w 859"/>
              <a:gd name="T13" fmla="*/ 107 h 644"/>
              <a:gd name="T14" fmla="*/ 476 w 859"/>
              <a:gd name="T15" fmla="*/ 476 h 644"/>
              <a:gd name="T16" fmla="*/ 383 w 859"/>
              <a:gd name="T17" fmla="*/ 476 h 644"/>
              <a:gd name="T18" fmla="*/ 373 w 859"/>
              <a:gd name="T19" fmla="*/ 465 h 644"/>
              <a:gd name="T20" fmla="*/ 179 w 859"/>
              <a:gd name="T21" fmla="*/ 465 h 644"/>
              <a:gd name="T22" fmla="*/ 179 w 859"/>
              <a:gd name="T23" fmla="*/ 71 h 644"/>
              <a:gd name="T24" fmla="*/ 344 w 859"/>
              <a:gd name="T25" fmla="*/ 71 h 644"/>
              <a:gd name="T26" fmla="*/ 393 w 859"/>
              <a:gd name="T27" fmla="*/ 96 h 644"/>
              <a:gd name="T28" fmla="*/ 393 w 859"/>
              <a:gd name="T29" fmla="*/ 358 h 644"/>
              <a:gd name="T30" fmla="*/ 465 w 859"/>
              <a:gd name="T31" fmla="*/ 358 h 644"/>
              <a:gd name="T32" fmla="*/ 465 w 859"/>
              <a:gd name="T33" fmla="*/ 96 h 644"/>
              <a:gd name="T34" fmla="*/ 515 w 859"/>
              <a:gd name="T35" fmla="*/ 71 h 644"/>
              <a:gd name="T36" fmla="*/ 680 w 859"/>
              <a:gd name="T37" fmla="*/ 71 h 644"/>
              <a:gd name="T38" fmla="*/ 680 w 859"/>
              <a:gd name="T39" fmla="*/ 465 h 644"/>
              <a:gd name="T40" fmla="*/ 486 w 859"/>
              <a:gd name="T41" fmla="*/ 465 h 644"/>
              <a:gd name="T42" fmla="*/ 476 w 859"/>
              <a:gd name="T43" fmla="*/ 476 h 644"/>
              <a:gd name="T44" fmla="*/ 752 w 859"/>
              <a:gd name="T45" fmla="*/ 537 h 644"/>
              <a:gd name="T46" fmla="*/ 752 w 859"/>
              <a:gd name="T47" fmla="*/ 0 h 644"/>
              <a:gd name="T48" fmla="*/ 486 w 859"/>
              <a:gd name="T49" fmla="*/ 0 h 644"/>
              <a:gd name="T50" fmla="*/ 476 w 859"/>
              <a:gd name="T51" fmla="*/ 10 h 644"/>
              <a:gd name="T52" fmla="*/ 383 w 859"/>
              <a:gd name="T53" fmla="*/ 10 h 644"/>
              <a:gd name="T54" fmla="*/ 373 w 859"/>
              <a:gd name="T55" fmla="*/ 0 h 644"/>
              <a:gd name="T56" fmla="*/ 107 w 859"/>
              <a:gd name="T57" fmla="*/ 0 h 644"/>
              <a:gd name="T58" fmla="*/ 107 w 859"/>
              <a:gd name="T59" fmla="*/ 537 h 644"/>
              <a:gd name="T60" fmla="*/ 344 w 859"/>
              <a:gd name="T61" fmla="*/ 537 h 644"/>
              <a:gd name="T62" fmla="*/ 429 w 859"/>
              <a:gd name="T63" fmla="*/ 566 h 644"/>
              <a:gd name="T64" fmla="*/ 515 w 859"/>
              <a:gd name="T65" fmla="*/ 537 h 644"/>
              <a:gd name="T66" fmla="*/ 752 w 859"/>
              <a:gd name="T67" fmla="*/ 537 h 644"/>
              <a:gd name="T68" fmla="*/ 71 w 859"/>
              <a:gd name="T69" fmla="*/ 573 h 644"/>
              <a:gd name="T70" fmla="*/ 71 w 859"/>
              <a:gd name="T71" fmla="*/ 107 h 644"/>
              <a:gd name="T72" fmla="*/ 0 w 859"/>
              <a:gd name="T73" fmla="*/ 107 h 644"/>
              <a:gd name="T74" fmla="*/ 0 w 859"/>
              <a:gd name="T75" fmla="*/ 644 h 644"/>
              <a:gd name="T76" fmla="*/ 394 w 859"/>
              <a:gd name="T77" fmla="*/ 644 h 644"/>
              <a:gd name="T78" fmla="*/ 322 w 859"/>
              <a:gd name="T79" fmla="*/ 573 h 644"/>
              <a:gd name="T80" fmla="*/ 71 w 859"/>
              <a:gd name="T81" fmla="*/ 573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9" h="644">
                <a:moveTo>
                  <a:pt x="787" y="107"/>
                </a:moveTo>
                <a:lnTo>
                  <a:pt x="787" y="573"/>
                </a:lnTo>
                <a:lnTo>
                  <a:pt x="537" y="573"/>
                </a:lnTo>
                <a:lnTo>
                  <a:pt x="465" y="644"/>
                </a:lnTo>
                <a:lnTo>
                  <a:pt x="859" y="644"/>
                </a:lnTo>
                <a:lnTo>
                  <a:pt x="859" y="107"/>
                </a:lnTo>
                <a:lnTo>
                  <a:pt x="787" y="107"/>
                </a:lnTo>
                <a:close/>
                <a:moveTo>
                  <a:pt x="476" y="476"/>
                </a:moveTo>
                <a:cubicBezTo>
                  <a:pt x="450" y="501"/>
                  <a:pt x="409" y="501"/>
                  <a:pt x="383" y="476"/>
                </a:cubicBezTo>
                <a:lnTo>
                  <a:pt x="373" y="465"/>
                </a:lnTo>
                <a:lnTo>
                  <a:pt x="179" y="465"/>
                </a:lnTo>
                <a:lnTo>
                  <a:pt x="179" y="71"/>
                </a:lnTo>
                <a:lnTo>
                  <a:pt x="344" y="71"/>
                </a:lnTo>
                <a:cubicBezTo>
                  <a:pt x="359" y="71"/>
                  <a:pt x="393" y="91"/>
                  <a:pt x="393" y="96"/>
                </a:cubicBezTo>
                <a:lnTo>
                  <a:pt x="393" y="358"/>
                </a:lnTo>
                <a:lnTo>
                  <a:pt x="465" y="358"/>
                </a:lnTo>
                <a:lnTo>
                  <a:pt x="465" y="96"/>
                </a:lnTo>
                <a:cubicBezTo>
                  <a:pt x="465" y="91"/>
                  <a:pt x="500" y="71"/>
                  <a:pt x="515" y="71"/>
                </a:cubicBezTo>
                <a:lnTo>
                  <a:pt x="680" y="71"/>
                </a:lnTo>
                <a:lnTo>
                  <a:pt x="680" y="465"/>
                </a:lnTo>
                <a:lnTo>
                  <a:pt x="486" y="465"/>
                </a:lnTo>
                <a:lnTo>
                  <a:pt x="476" y="476"/>
                </a:lnTo>
                <a:close/>
                <a:moveTo>
                  <a:pt x="752" y="537"/>
                </a:moveTo>
                <a:lnTo>
                  <a:pt x="752" y="0"/>
                </a:lnTo>
                <a:lnTo>
                  <a:pt x="486" y="0"/>
                </a:lnTo>
                <a:lnTo>
                  <a:pt x="476" y="10"/>
                </a:lnTo>
                <a:cubicBezTo>
                  <a:pt x="450" y="36"/>
                  <a:pt x="409" y="36"/>
                  <a:pt x="383" y="10"/>
                </a:cubicBezTo>
                <a:lnTo>
                  <a:pt x="373" y="0"/>
                </a:lnTo>
                <a:lnTo>
                  <a:pt x="107" y="0"/>
                </a:lnTo>
                <a:lnTo>
                  <a:pt x="107" y="537"/>
                </a:lnTo>
                <a:lnTo>
                  <a:pt x="344" y="537"/>
                </a:lnTo>
                <a:cubicBezTo>
                  <a:pt x="369" y="573"/>
                  <a:pt x="399" y="566"/>
                  <a:pt x="429" y="566"/>
                </a:cubicBezTo>
                <a:cubicBezTo>
                  <a:pt x="460" y="566"/>
                  <a:pt x="490" y="573"/>
                  <a:pt x="515" y="537"/>
                </a:cubicBezTo>
                <a:lnTo>
                  <a:pt x="752" y="537"/>
                </a:lnTo>
                <a:close/>
                <a:moveTo>
                  <a:pt x="71" y="573"/>
                </a:moveTo>
                <a:lnTo>
                  <a:pt x="71" y="107"/>
                </a:lnTo>
                <a:lnTo>
                  <a:pt x="0" y="107"/>
                </a:lnTo>
                <a:lnTo>
                  <a:pt x="0" y="644"/>
                </a:lnTo>
                <a:lnTo>
                  <a:pt x="394" y="644"/>
                </a:lnTo>
                <a:lnTo>
                  <a:pt x="322" y="573"/>
                </a:lnTo>
                <a:lnTo>
                  <a:pt x="71" y="5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0"/>
          <p:cNvSpPr>
            <a:spLocks noEditPoints="1"/>
          </p:cNvSpPr>
          <p:nvPr/>
        </p:nvSpPr>
        <p:spPr bwMode="auto">
          <a:xfrm>
            <a:off x="11601728" y="1744503"/>
            <a:ext cx="360248" cy="301287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8" name="Freeform 41"/>
          <p:cNvSpPr>
            <a:spLocks/>
          </p:cNvSpPr>
          <p:nvPr/>
        </p:nvSpPr>
        <p:spPr bwMode="auto">
          <a:xfrm>
            <a:off x="11600809" y="4756459"/>
            <a:ext cx="362085" cy="315984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69" name="Группа 68"/>
          <p:cNvGrpSpPr/>
          <p:nvPr/>
        </p:nvGrpSpPr>
        <p:grpSpPr>
          <a:xfrm>
            <a:off x="11614594" y="200960"/>
            <a:ext cx="334516" cy="361915"/>
            <a:chOff x="477468" y="2705515"/>
            <a:chExt cx="409903" cy="443477"/>
          </a:xfrm>
        </p:grpSpPr>
        <p:sp>
          <p:nvSpPr>
            <p:cNvPr id="70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1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72" name="Freeform 44"/>
          <p:cNvSpPr>
            <a:spLocks noEditPoints="1"/>
          </p:cNvSpPr>
          <p:nvPr/>
        </p:nvSpPr>
        <p:spPr bwMode="auto">
          <a:xfrm>
            <a:off x="11606322" y="5464056"/>
            <a:ext cx="351059" cy="380284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3" name="Freeform 45"/>
          <p:cNvSpPr>
            <a:spLocks noEditPoints="1"/>
          </p:cNvSpPr>
          <p:nvPr/>
        </p:nvSpPr>
        <p:spPr bwMode="auto">
          <a:xfrm>
            <a:off x="11601728" y="966788"/>
            <a:ext cx="360248" cy="347216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89" name="Freeform 46"/>
          <p:cNvSpPr>
            <a:spLocks noEditPoints="1"/>
          </p:cNvSpPr>
          <p:nvPr/>
        </p:nvSpPr>
        <p:spPr bwMode="auto">
          <a:xfrm>
            <a:off x="11655949" y="3977824"/>
            <a:ext cx="251807" cy="363751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5" name="Freeform 52"/>
          <p:cNvSpPr>
            <a:spLocks noEditPoints="1"/>
          </p:cNvSpPr>
          <p:nvPr/>
        </p:nvSpPr>
        <p:spPr bwMode="auto">
          <a:xfrm>
            <a:off x="11605404" y="3223075"/>
            <a:ext cx="352896" cy="36375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Freeform 53"/>
          <p:cNvSpPr>
            <a:spLocks noEditPoints="1"/>
          </p:cNvSpPr>
          <p:nvPr/>
        </p:nvSpPr>
        <p:spPr bwMode="auto">
          <a:xfrm>
            <a:off x="11594376" y="6260448"/>
            <a:ext cx="374952" cy="327005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115" name="AutoShape 4"/>
          <p:cNvSpPr>
            <a:spLocks noChangeAspect="1" noChangeArrowheads="1" noTextEdit="1"/>
          </p:cNvSpPr>
          <p:nvPr/>
        </p:nvSpPr>
        <p:spPr bwMode="auto">
          <a:xfrm>
            <a:off x="5844301" y="1808388"/>
            <a:ext cx="918665" cy="317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79" name="Группа 78"/>
          <p:cNvGrpSpPr/>
          <p:nvPr/>
        </p:nvGrpSpPr>
        <p:grpSpPr>
          <a:xfrm>
            <a:off x="217154" y="200960"/>
            <a:ext cx="1268960" cy="438775"/>
            <a:chOff x="254665" y="195486"/>
            <a:chExt cx="951720" cy="329081"/>
          </a:xfrm>
        </p:grpSpPr>
        <p:sp>
          <p:nvSpPr>
            <p:cNvPr id="80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3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4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5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6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7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8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0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1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2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3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4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494785"/>
            <a:ext cx="4421068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2543906" y="84172"/>
            <a:ext cx="10029387" cy="4062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400" b="1" dirty="0">
                <a:solidFill>
                  <a:srgbClr val="003399"/>
                </a:solidFill>
                <a:latin typeface="Carlito"/>
              </a:rPr>
              <a:t>НОВИНКИ ФПУ. ФИНАНСОВАЯ ГРАМОТНОСТЬ</a:t>
            </a:r>
          </a:p>
        </p:txBody>
      </p:sp>
      <p:sp>
        <p:nvSpPr>
          <p:cNvPr id="51" name="TextBox 50"/>
          <p:cNvSpPr txBox="1"/>
          <p:nvPr/>
        </p:nvSpPr>
        <p:spPr>
          <a:xfrm rot="10800000" flipV="1">
            <a:off x="6746422" y="1090901"/>
            <a:ext cx="27175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b="1" dirty="0">
                <a:solidFill>
                  <a:schemeClr val="tx1">
                    <a:lumMod val="95000"/>
                    <a:lumOff val="5000"/>
                  </a:schemeClr>
                </a:solidFill>
                <a:latin typeface="Carlito"/>
                <a:ea typeface="Open Sans" pitchFamily="34" charset="0"/>
                <a:cs typeface="Calibri" pitchFamily="34" charset="0"/>
              </a:rPr>
              <a:t>ЗАДАЧИ  КУРСОВ</a:t>
            </a:r>
            <a:endParaRPr lang="ru-RU" spc="-20" dirty="0">
              <a:solidFill>
                <a:schemeClr val="tx1">
                  <a:lumMod val="95000"/>
                  <a:lumOff val="5000"/>
                </a:schemeClr>
              </a:solidFill>
              <a:latin typeface="Carlito"/>
              <a:ea typeface="Open Sans" pitchFamily="34" charset="0"/>
              <a:cs typeface="Calibri" pitchFamily="34" charset="0"/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6177025" y="1950334"/>
            <a:ext cx="4996008" cy="238013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285750" indent="-285750" algn="just" defTabSz="914354">
              <a:spcBef>
                <a:spcPts val="1067"/>
              </a:spcBef>
              <a:buClr>
                <a:srgbClr val="0073B8"/>
              </a:buClr>
              <a:buSzPct val="66000"/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ea typeface="Open Sans" pitchFamily="34" charset="0"/>
                <a:cs typeface="Calibri" pitchFamily="34" charset="0"/>
              </a:rPr>
              <a:t>сформировать базовые финансовые понятия</a:t>
            </a:r>
          </a:p>
          <a:p>
            <a:pPr marL="285750" indent="-285750" algn="just" defTabSz="914354">
              <a:spcBef>
                <a:spcPts val="1067"/>
              </a:spcBef>
              <a:buClr>
                <a:srgbClr val="0073B8"/>
              </a:buClr>
              <a:buSzPct val="66000"/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ea typeface="Open Sans" pitchFamily="34" charset="0"/>
                <a:cs typeface="Calibri" pitchFamily="34" charset="0"/>
              </a:rPr>
              <a:t>научить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ea typeface="Open Sans" pitchFamily="34" charset="0"/>
                <a:cs typeface="Calibri" pitchFamily="34" charset="0"/>
              </a:rPr>
              <a:t> </a:t>
            </a: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ea typeface="Open Sans" pitchFamily="34" charset="0"/>
                <a:cs typeface="Calibri" pitchFamily="34" charset="0"/>
              </a:rPr>
              <a:t>грамотно распоряжаться деньгами</a:t>
            </a:r>
          </a:p>
          <a:p>
            <a:pPr marL="285750" indent="-285750" algn="just" defTabSz="914354">
              <a:spcBef>
                <a:spcPts val="1067"/>
              </a:spcBef>
              <a:buClr>
                <a:srgbClr val="0073B8"/>
              </a:buClr>
              <a:buSzPct val="66000"/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ea typeface="Open Sans" pitchFamily="34" charset="0"/>
                <a:cs typeface="Calibri" pitchFamily="34" charset="0"/>
              </a:rPr>
              <a:t>объяснить взаимосвязь труда и его стоимости</a:t>
            </a:r>
          </a:p>
          <a:p>
            <a:pPr marL="285750" indent="-285750" algn="just" defTabSz="914354">
              <a:spcBef>
                <a:spcPts val="1067"/>
              </a:spcBef>
              <a:buClr>
                <a:srgbClr val="0073B8"/>
              </a:buClr>
              <a:buSzPct val="66000"/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ea typeface="Open Sans" pitchFamily="34" charset="0"/>
                <a:cs typeface="Calibri" pitchFamily="34" charset="0"/>
              </a:rPr>
              <a:t>познакомить с личным финансовым бюджетом и планом</a:t>
            </a:r>
          </a:p>
          <a:p>
            <a:pPr marL="285750" indent="-285750" algn="just" defTabSz="914354">
              <a:spcBef>
                <a:spcPts val="1067"/>
              </a:spcBef>
              <a:buClr>
                <a:srgbClr val="0073B8"/>
              </a:buClr>
              <a:buSzPct val="66000"/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ea typeface="Open Sans" pitchFamily="34" charset="0"/>
                <a:cs typeface="Calibri" pitchFamily="34" charset="0"/>
              </a:rPr>
              <a:t>научить делать осознанный выбор для достижения личных финансовых целей</a:t>
            </a:r>
          </a:p>
        </p:txBody>
      </p:sp>
      <p:pic>
        <p:nvPicPr>
          <p:cNvPr id="57" name="Picture 14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0778" y="1963237"/>
            <a:ext cx="1760279" cy="23543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0" name="Прямоугольник 59"/>
          <p:cNvSpPr/>
          <p:nvPr/>
        </p:nvSpPr>
        <p:spPr>
          <a:xfrm>
            <a:off x="386790" y="5410301"/>
            <a:ext cx="10692170" cy="646331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marL="180970" algn="ctr"/>
            <a:r>
              <a:rPr lang="ru-RU" b="1" dirty="0">
                <a:solidFill>
                  <a:schemeClr val="tx1">
                    <a:lumMod val="85000"/>
                    <a:lumOff val="15000"/>
                  </a:schemeClr>
                </a:solidFill>
                <a:latin typeface="Carlito"/>
                <a:ea typeface="Open Sans" pitchFamily="34" charset="0"/>
                <a:cs typeface="Open Sans" pitchFamily="34" charset="0"/>
              </a:rPr>
              <a:t>Могут использоваться на уроках, во внеурочной деятельности, в системе дополнительного образования</a:t>
            </a:r>
          </a:p>
        </p:txBody>
      </p:sp>
      <p:sp>
        <p:nvSpPr>
          <p:cNvPr id="62" name="object 29"/>
          <p:cNvSpPr txBox="1"/>
          <p:nvPr/>
        </p:nvSpPr>
        <p:spPr>
          <a:xfrm>
            <a:off x="269786" y="4459820"/>
            <a:ext cx="1586075" cy="185948"/>
          </a:xfrm>
          <a:prstGeom prst="rect">
            <a:avLst/>
          </a:prstGeom>
          <a:solidFill>
            <a:srgbClr val="2C3493"/>
          </a:solidFill>
        </p:spPr>
        <p:txBody>
          <a:bodyPr vert="horz" wrap="square" lIns="0" tIns="1270" rIns="0" bIns="0" rtlCol="0">
            <a:spAutoFit/>
          </a:bodyPr>
          <a:lstStyle/>
          <a:p>
            <a:pPr algn="ctr" fontAlgn="ctr"/>
            <a:r>
              <a:rPr sz="1200" b="1" spc="-5" dirty="0">
                <a:solidFill>
                  <a:srgbClr val="FFFFFF"/>
                </a:solidFill>
                <a:latin typeface="Carlito"/>
                <a:cs typeface="Carlito"/>
              </a:rPr>
              <a:t>ФП</a:t>
            </a:r>
            <a:r>
              <a:rPr sz="1200" b="1" spc="-15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1200" b="1" spc="-10" dirty="0">
                <a:solidFill>
                  <a:srgbClr val="FFFFFF"/>
                </a:solidFill>
                <a:latin typeface="Carlito"/>
                <a:cs typeface="Carlito"/>
              </a:rPr>
              <a:t>№</a:t>
            </a:r>
            <a:r>
              <a:rPr lang="ru-RU" sz="1200" b="1" spc="-10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lang="ru-RU" sz="1200" b="1" dirty="0">
                <a:solidFill>
                  <a:schemeClr val="bg1"/>
                </a:solidFill>
                <a:latin typeface="Carlito"/>
                <a:ea typeface="Open Sans" pitchFamily="34" charset="0"/>
                <a:cs typeface="Open Sans" pitchFamily="34" charset="0"/>
              </a:rPr>
              <a:t>2.1.2.1.2.2.1</a:t>
            </a:r>
          </a:p>
        </p:txBody>
      </p:sp>
      <p:sp>
        <p:nvSpPr>
          <p:cNvPr id="63" name="object 29"/>
          <p:cNvSpPr txBox="1"/>
          <p:nvPr/>
        </p:nvSpPr>
        <p:spPr>
          <a:xfrm>
            <a:off x="2196260" y="4108375"/>
            <a:ext cx="1586075" cy="185948"/>
          </a:xfrm>
          <a:prstGeom prst="rect">
            <a:avLst/>
          </a:prstGeom>
          <a:solidFill>
            <a:srgbClr val="2C3493"/>
          </a:solidFill>
        </p:spPr>
        <p:txBody>
          <a:bodyPr vert="horz" wrap="square" lIns="0" tIns="1270" rIns="0" bIns="0" rtlCol="0">
            <a:spAutoFit/>
          </a:bodyPr>
          <a:lstStyle/>
          <a:p>
            <a:pPr algn="ctr" fontAlgn="ctr"/>
            <a:r>
              <a:rPr sz="1200" b="1" spc="-5" dirty="0">
                <a:solidFill>
                  <a:srgbClr val="FFFFFF"/>
                </a:solidFill>
                <a:latin typeface="Carlito"/>
                <a:cs typeface="Carlito"/>
              </a:rPr>
              <a:t>ФП</a:t>
            </a:r>
            <a:r>
              <a:rPr sz="1200" b="1" spc="-15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1200" b="1" spc="-10" dirty="0">
                <a:solidFill>
                  <a:srgbClr val="FFFFFF"/>
                </a:solidFill>
                <a:latin typeface="Carlito"/>
                <a:cs typeface="Carlito"/>
              </a:rPr>
              <a:t>№</a:t>
            </a:r>
            <a:r>
              <a:rPr lang="ru-RU" sz="1200" b="1" spc="-10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lang="ru-RU" sz="1200" b="1" dirty="0">
                <a:solidFill>
                  <a:schemeClr val="bg1"/>
                </a:solidFill>
                <a:latin typeface="Carlito"/>
                <a:ea typeface="Open Sans" pitchFamily="34" charset="0"/>
                <a:cs typeface="Open Sans" pitchFamily="34" charset="0"/>
              </a:rPr>
              <a:t>2.1.2.1.5.1.1</a:t>
            </a:r>
          </a:p>
        </p:txBody>
      </p:sp>
      <p:sp>
        <p:nvSpPr>
          <p:cNvPr id="64" name="object 29"/>
          <p:cNvSpPr txBox="1"/>
          <p:nvPr/>
        </p:nvSpPr>
        <p:spPr>
          <a:xfrm>
            <a:off x="4147879" y="4468408"/>
            <a:ext cx="1586075" cy="185948"/>
          </a:xfrm>
          <a:prstGeom prst="rect">
            <a:avLst/>
          </a:prstGeom>
          <a:solidFill>
            <a:srgbClr val="2C3493"/>
          </a:solidFill>
        </p:spPr>
        <p:txBody>
          <a:bodyPr vert="horz" wrap="square" lIns="0" tIns="1270" rIns="0" bIns="0" rtlCol="0">
            <a:spAutoFit/>
          </a:bodyPr>
          <a:lstStyle/>
          <a:p>
            <a:pPr algn="ctr" fontAlgn="ctr"/>
            <a:r>
              <a:rPr sz="1200" b="1" spc="-5" dirty="0">
                <a:solidFill>
                  <a:srgbClr val="FFFFFF"/>
                </a:solidFill>
                <a:latin typeface="Carlito"/>
                <a:cs typeface="Carlito"/>
              </a:rPr>
              <a:t>ФП</a:t>
            </a:r>
            <a:r>
              <a:rPr sz="1200" b="1" spc="-15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1200" b="1" spc="-10" dirty="0">
                <a:solidFill>
                  <a:srgbClr val="FFFFFF"/>
                </a:solidFill>
                <a:latin typeface="Carlito"/>
                <a:cs typeface="Carlito"/>
              </a:rPr>
              <a:t>№</a:t>
            </a:r>
            <a:r>
              <a:rPr lang="ru-RU" sz="1200" b="1" spc="-10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lang="ru-RU" sz="1200" b="1" dirty="0">
                <a:solidFill>
                  <a:schemeClr val="bg1"/>
                </a:solidFill>
                <a:latin typeface="Carlito"/>
                <a:ea typeface="Open Sans" pitchFamily="34" charset="0"/>
                <a:cs typeface="Open Sans" pitchFamily="34" charset="0"/>
              </a:rPr>
              <a:t>1.1.3.3.3.10.1</a:t>
            </a:r>
          </a:p>
        </p:txBody>
      </p:sp>
      <p:pic>
        <p:nvPicPr>
          <p:cNvPr id="65" name="Picture 18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1964" y="2077983"/>
            <a:ext cx="1712362" cy="2239589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66" name="Picture 11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9234" y="1373831"/>
            <a:ext cx="1840128" cy="24646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74" name="Прямая соединительная линия 73"/>
          <p:cNvCxnSpPr/>
          <p:nvPr/>
        </p:nvCxnSpPr>
        <p:spPr>
          <a:xfrm>
            <a:off x="1568759" y="626526"/>
            <a:ext cx="9806910" cy="19666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0311981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36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xmlns="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11375669" y="2257824"/>
            <a:ext cx="812363" cy="754751"/>
          </a:xfrm>
          <a:prstGeom prst="rect">
            <a:avLst/>
          </a:prstGeom>
          <a:solidFill>
            <a:srgbClr val="40D4E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3"/>
          <p:cNvSpPr>
            <a:spLocks noChangeArrowheads="1"/>
          </p:cNvSpPr>
          <p:nvPr/>
        </p:nvSpPr>
        <p:spPr bwMode="auto">
          <a:xfrm>
            <a:off x="11375669" y="5276823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4"/>
          <p:cNvSpPr>
            <a:spLocks noChangeArrowheads="1"/>
          </p:cNvSpPr>
          <p:nvPr/>
        </p:nvSpPr>
        <p:spPr bwMode="auto">
          <a:xfrm>
            <a:off x="11376586" y="4522072"/>
            <a:ext cx="812363" cy="754751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17"/>
          <p:cNvSpPr>
            <a:spLocks noChangeArrowheads="1"/>
          </p:cNvSpPr>
          <p:nvPr/>
        </p:nvSpPr>
        <p:spPr bwMode="auto">
          <a:xfrm>
            <a:off x="11375670" y="-4589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19"/>
          <p:cNvSpPr>
            <a:spLocks noChangeArrowheads="1"/>
          </p:cNvSpPr>
          <p:nvPr/>
        </p:nvSpPr>
        <p:spPr bwMode="auto">
          <a:xfrm>
            <a:off x="11376586" y="3012572"/>
            <a:ext cx="812363" cy="754751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1"/>
          <p:cNvSpPr>
            <a:spLocks noChangeArrowheads="1"/>
          </p:cNvSpPr>
          <p:nvPr/>
        </p:nvSpPr>
        <p:spPr bwMode="auto">
          <a:xfrm>
            <a:off x="11376586" y="6031572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2"/>
          <p:cNvSpPr>
            <a:spLocks noChangeArrowheads="1"/>
          </p:cNvSpPr>
          <p:nvPr/>
        </p:nvSpPr>
        <p:spPr bwMode="auto">
          <a:xfrm>
            <a:off x="11375670" y="1502768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2" name="Rectangle 25"/>
          <p:cNvSpPr>
            <a:spLocks noChangeArrowheads="1"/>
          </p:cNvSpPr>
          <p:nvPr/>
        </p:nvSpPr>
        <p:spPr bwMode="auto">
          <a:xfrm>
            <a:off x="11376586" y="3767322"/>
            <a:ext cx="812363" cy="754751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29"/>
          <p:cNvSpPr>
            <a:spLocks noChangeArrowheads="1"/>
          </p:cNvSpPr>
          <p:nvPr/>
        </p:nvSpPr>
        <p:spPr bwMode="auto">
          <a:xfrm>
            <a:off x="11375670" y="748019"/>
            <a:ext cx="812363" cy="754751"/>
          </a:xfrm>
          <a:prstGeom prst="rect">
            <a:avLst/>
          </a:prstGeom>
          <a:solidFill>
            <a:srgbClr val="9ED44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2"/>
          <p:cNvSpPr>
            <a:spLocks noEditPoints="1"/>
          </p:cNvSpPr>
          <p:nvPr/>
        </p:nvSpPr>
        <p:spPr bwMode="auto">
          <a:xfrm>
            <a:off x="11600809" y="2514255"/>
            <a:ext cx="362085" cy="271895"/>
          </a:xfrm>
          <a:custGeom>
            <a:avLst/>
            <a:gdLst>
              <a:gd name="T0" fmla="*/ 787 w 859"/>
              <a:gd name="T1" fmla="*/ 107 h 644"/>
              <a:gd name="T2" fmla="*/ 787 w 859"/>
              <a:gd name="T3" fmla="*/ 573 h 644"/>
              <a:gd name="T4" fmla="*/ 537 w 859"/>
              <a:gd name="T5" fmla="*/ 573 h 644"/>
              <a:gd name="T6" fmla="*/ 465 w 859"/>
              <a:gd name="T7" fmla="*/ 644 h 644"/>
              <a:gd name="T8" fmla="*/ 859 w 859"/>
              <a:gd name="T9" fmla="*/ 644 h 644"/>
              <a:gd name="T10" fmla="*/ 859 w 859"/>
              <a:gd name="T11" fmla="*/ 107 h 644"/>
              <a:gd name="T12" fmla="*/ 787 w 859"/>
              <a:gd name="T13" fmla="*/ 107 h 644"/>
              <a:gd name="T14" fmla="*/ 476 w 859"/>
              <a:gd name="T15" fmla="*/ 476 h 644"/>
              <a:gd name="T16" fmla="*/ 383 w 859"/>
              <a:gd name="T17" fmla="*/ 476 h 644"/>
              <a:gd name="T18" fmla="*/ 373 w 859"/>
              <a:gd name="T19" fmla="*/ 465 h 644"/>
              <a:gd name="T20" fmla="*/ 179 w 859"/>
              <a:gd name="T21" fmla="*/ 465 h 644"/>
              <a:gd name="T22" fmla="*/ 179 w 859"/>
              <a:gd name="T23" fmla="*/ 71 h 644"/>
              <a:gd name="T24" fmla="*/ 344 w 859"/>
              <a:gd name="T25" fmla="*/ 71 h 644"/>
              <a:gd name="T26" fmla="*/ 393 w 859"/>
              <a:gd name="T27" fmla="*/ 96 h 644"/>
              <a:gd name="T28" fmla="*/ 393 w 859"/>
              <a:gd name="T29" fmla="*/ 358 h 644"/>
              <a:gd name="T30" fmla="*/ 465 w 859"/>
              <a:gd name="T31" fmla="*/ 358 h 644"/>
              <a:gd name="T32" fmla="*/ 465 w 859"/>
              <a:gd name="T33" fmla="*/ 96 h 644"/>
              <a:gd name="T34" fmla="*/ 515 w 859"/>
              <a:gd name="T35" fmla="*/ 71 h 644"/>
              <a:gd name="T36" fmla="*/ 680 w 859"/>
              <a:gd name="T37" fmla="*/ 71 h 644"/>
              <a:gd name="T38" fmla="*/ 680 w 859"/>
              <a:gd name="T39" fmla="*/ 465 h 644"/>
              <a:gd name="T40" fmla="*/ 486 w 859"/>
              <a:gd name="T41" fmla="*/ 465 h 644"/>
              <a:gd name="T42" fmla="*/ 476 w 859"/>
              <a:gd name="T43" fmla="*/ 476 h 644"/>
              <a:gd name="T44" fmla="*/ 752 w 859"/>
              <a:gd name="T45" fmla="*/ 537 h 644"/>
              <a:gd name="T46" fmla="*/ 752 w 859"/>
              <a:gd name="T47" fmla="*/ 0 h 644"/>
              <a:gd name="T48" fmla="*/ 486 w 859"/>
              <a:gd name="T49" fmla="*/ 0 h 644"/>
              <a:gd name="T50" fmla="*/ 476 w 859"/>
              <a:gd name="T51" fmla="*/ 10 h 644"/>
              <a:gd name="T52" fmla="*/ 383 w 859"/>
              <a:gd name="T53" fmla="*/ 10 h 644"/>
              <a:gd name="T54" fmla="*/ 373 w 859"/>
              <a:gd name="T55" fmla="*/ 0 h 644"/>
              <a:gd name="T56" fmla="*/ 107 w 859"/>
              <a:gd name="T57" fmla="*/ 0 h 644"/>
              <a:gd name="T58" fmla="*/ 107 w 859"/>
              <a:gd name="T59" fmla="*/ 537 h 644"/>
              <a:gd name="T60" fmla="*/ 344 w 859"/>
              <a:gd name="T61" fmla="*/ 537 h 644"/>
              <a:gd name="T62" fmla="*/ 429 w 859"/>
              <a:gd name="T63" fmla="*/ 566 h 644"/>
              <a:gd name="T64" fmla="*/ 515 w 859"/>
              <a:gd name="T65" fmla="*/ 537 h 644"/>
              <a:gd name="T66" fmla="*/ 752 w 859"/>
              <a:gd name="T67" fmla="*/ 537 h 644"/>
              <a:gd name="T68" fmla="*/ 71 w 859"/>
              <a:gd name="T69" fmla="*/ 573 h 644"/>
              <a:gd name="T70" fmla="*/ 71 w 859"/>
              <a:gd name="T71" fmla="*/ 107 h 644"/>
              <a:gd name="T72" fmla="*/ 0 w 859"/>
              <a:gd name="T73" fmla="*/ 107 h 644"/>
              <a:gd name="T74" fmla="*/ 0 w 859"/>
              <a:gd name="T75" fmla="*/ 644 h 644"/>
              <a:gd name="T76" fmla="*/ 394 w 859"/>
              <a:gd name="T77" fmla="*/ 644 h 644"/>
              <a:gd name="T78" fmla="*/ 322 w 859"/>
              <a:gd name="T79" fmla="*/ 573 h 644"/>
              <a:gd name="T80" fmla="*/ 71 w 859"/>
              <a:gd name="T81" fmla="*/ 573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9" h="644">
                <a:moveTo>
                  <a:pt x="787" y="107"/>
                </a:moveTo>
                <a:lnTo>
                  <a:pt x="787" y="573"/>
                </a:lnTo>
                <a:lnTo>
                  <a:pt x="537" y="573"/>
                </a:lnTo>
                <a:lnTo>
                  <a:pt x="465" y="644"/>
                </a:lnTo>
                <a:lnTo>
                  <a:pt x="859" y="644"/>
                </a:lnTo>
                <a:lnTo>
                  <a:pt x="859" y="107"/>
                </a:lnTo>
                <a:lnTo>
                  <a:pt x="787" y="107"/>
                </a:lnTo>
                <a:close/>
                <a:moveTo>
                  <a:pt x="476" y="476"/>
                </a:moveTo>
                <a:cubicBezTo>
                  <a:pt x="450" y="501"/>
                  <a:pt x="409" y="501"/>
                  <a:pt x="383" y="476"/>
                </a:cubicBezTo>
                <a:lnTo>
                  <a:pt x="373" y="465"/>
                </a:lnTo>
                <a:lnTo>
                  <a:pt x="179" y="465"/>
                </a:lnTo>
                <a:lnTo>
                  <a:pt x="179" y="71"/>
                </a:lnTo>
                <a:lnTo>
                  <a:pt x="344" y="71"/>
                </a:lnTo>
                <a:cubicBezTo>
                  <a:pt x="359" y="71"/>
                  <a:pt x="393" y="91"/>
                  <a:pt x="393" y="96"/>
                </a:cubicBezTo>
                <a:lnTo>
                  <a:pt x="393" y="358"/>
                </a:lnTo>
                <a:lnTo>
                  <a:pt x="465" y="358"/>
                </a:lnTo>
                <a:lnTo>
                  <a:pt x="465" y="96"/>
                </a:lnTo>
                <a:cubicBezTo>
                  <a:pt x="465" y="91"/>
                  <a:pt x="500" y="71"/>
                  <a:pt x="515" y="71"/>
                </a:cubicBezTo>
                <a:lnTo>
                  <a:pt x="680" y="71"/>
                </a:lnTo>
                <a:lnTo>
                  <a:pt x="680" y="465"/>
                </a:lnTo>
                <a:lnTo>
                  <a:pt x="486" y="465"/>
                </a:lnTo>
                <a:lnTo>
                  <a:pt x="476" y="476"/>
                </a:lnTo>
                <a:close/>
                <a:moveTo>
                  <a:pt x="752" y="537"/>
                </a:moveTo>
                <a:lnTo>
                  <a:pt x="752" y="0"/>
                </a:lnTo>
                <a:lnTo>
                  <a:pt x="486" y="0"/>
                </a:lnTo>
                <a:lnTo>
                  <a:pt x="476" y="10"/>
                </a:lnTo>
                <a:cubicBezTo>
                  <a:pt x="450" y="36"/>
                  <a:pt x="409" y="36"/>
                  <a:pt x="383" y="10"/>
                </a:cubicBezTo>
                <a:lnTo>
                  <a:pt x="373" y="0"/>
                </a:lnTo>
                <a:lnTo>
                  <a:pt x="107" y="0"/>
                </a:lnTo>
                <a:lnTo>
                  <a:pt x="107" y="537"/>
                </a:lnTo>
                <a:lnTo>
                  <a:pt x="344" y="537"/>
                </a:lnTo>
                <a:cubicBezTo>
                  <a:pt x="369" y="573"/>
                  <a:pt x="399" y="566"/>
                  <a:pt x="429" y="566"/>
                </a:cubicBezTo>
                <a:cubicBezTo>
                  <a:pt x="460" y="566"/>
                  <a:pt x="490" y="573"/>
                  <a:pt x="515" y="537"/>
                </a:cubicBezTo>
                <a:lnTo>
                  <a:pt x="752" y="537"/>
                </a:lnTo>
                <a:close/>
                <a:moveTo>
                  <a:pt x="71" y="573"/>
                </a:moveTo>
                <a:lnTo>
                  <a:pt x="71" y="107"/>
                </a:lnTo>
                <a:lnTo>
                  <a:pt x="0" y="107"/>
                </a:lnTo>
                <a:lnTo>
                  <a:pt x="0" y="644"/>
                </a:lnTo>
                <a:lnTo>
                  <a:pt x="394" y="644"/>
                </a:lnTo>
                <a:lnTo>
                  <a:pt x="322" y="573"/>
                </a:lnTo>
                <a:lnTo>
                  <a:pt x="71" y="5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0"/>
          <p:cNvSpPr>
            <a:spLocks noEditPoints="1"/>
          </p:cNvSpPr>
          <p:nvPr/>
        </p:nvSpPr>
        <p:spPr bwMode="auto">
          <a:xfrm>
            <a:off x="11601728" y="1744503"/>
            <a:ext cx="360248" cy="301287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8" name="Freeform 41"/>
          <p:cNvSpPr>
            <a:spLocks/>
          </p:cNvSpPr>
          <p:nvPr/>
        </p:nvSpPr>
        <p:spPr bwMode="auto">
          <a:xfrm>
            <a:off x="11600809" y="4756459"/>
            <a:ext cx="362085" cy="315984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69" name="Группа 68"/>
          <p:cNvGrpSpPr/>
          <p:nvPr/>
        </p:nvGrpSpPr>
        <p:grpSpPr>
          <a:xfrm>
            <a:off x="11614594" y="200960"/>
            <a:ext cx="334516" cy="361915"/>
            <a:chOff x="477468" y="2705515"/>
            <a:chExt cx="409903" cy="443477"/>
          </a:xfrm>
        </p:grpSpPr>
        <p:sp>
          <p:nvSpPr>
            <p:cNvPr id="70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1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72" name="Freeform 44"/>
          <p:cNvSpPr>
            <a:spLocks noEditPoints="1"/>
          </p:cNvSpPr>
          <p:nvPr/>
        </p:nvSpPr>
        <p:spPr bwMode="auto">
          <a:xfrm>
            <a:off x="11606322" y="5464056"/>
            <a:ext cx="351059" cy="380284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3" name="Freeform 45"/>
          <p:cNvSpPr>
            <a:spLocks noEditPoints="1"/>
          </p:cNvSpPr>
          <p:nvPr/>
        </p:nvSpPr>
        <p:spPr bwMode="auto">
          <a:xfrm>
            <a:off x="11601728" y="966788"/>
            <a:ext cx="360248" cy="347216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89" name="Freeform 46"/>
          <p:cNvSpPr>
            <a:spLocks noEditPoints="1"/>
          </p:cNvSpPr>
          <p:nvPr/>
        </p:nvSpPr>
        <p:spPr bwMode="auto">
          <a:xfrm>
            <a:off x="11655949" y="3977824"/>
            <a:ext cx="251807" cy="363751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5" name="Freeform 52"/>
          <p:cNvSpPr>
            <a:spLocks noEditPoints="1"/>
          </p:cNvSpPr>
          <p:nvPr/>
        </p:nvSpPr>
        <p:spPr bwMode="auto">
          <a:xfrm>
            <a:off x="11605404" y="3223075"/>
            <a:ext cx="352896" cy="36375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Freeform 53"/>
          <p:cNvSpPr>
            <a:spLocks noEditPoints="1"/>
          </p:cNvSpPr>
          <p:nvPr/>
        </p:nvSpPr>
        <p:spPr bwMode="auto">
          <a:xfrm>
            <a:off x="11594376" y="6260448"/>
            <a:ext cx="374952" cy="327005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115" name="AutoShape 4"/>
          <p:cNvSpPr>
            <a:spLocks noChangeAspect="1" noChangeArrowheads="1" noTextEdit="1"/>
          </p:cNvSpPr>
          <p:nvPr/>
        </p:nvSpPr>
        <p:spPr bwMode="auto">
          <a:xfrm>
            <a:off x="5844301" y="1808388"/>
            <a:ext cx="918665" cy="317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79" name="Группа 78"/>
          <p:cNvGrpSpPr/>
          <p:nvPr/>
        </p:nvGrpSpPr>
        <p:grpSpPr>
          <a:xfrm>
            <a:off x="105665" y="49921"/>
            <a:ext cx="1268960" cy="438775"/>
            <a:chOff x="254665" y="195486"/>
            <a:chExt cx="951720" cy="329081"/>
          </a:xfrm>
        </p:grpSpPr>
        <p:sp>
          <p:nvSpPr>
            <p:cNvPr id="80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3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4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5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6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7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8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0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1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2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3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4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494785"/>
            <a:ext cx="4421068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2314481" y="88936"/>
            <a:ext cx="776892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>
                <a:solidFill>
                  <a:srgbClr val="002060"/>
                </a:solidFill>
                <a:latin typeface="Carlito"/>
              </a:rPr>
              <a:t>ИНТЕРАКТИВНАЯ РАБОЧАЯ ТЕТРАДЬ   </a:t>
            </a:r>
            <a:r>
              <a:rPr lang="en-US" sz="2400" b="1" dirty="0" err="1">
                <a:solidFill>
                  <a:srgbClr val="002060"/>
                </a:solidFill>
                <a:latin typeface="Carlito"/>
              </a:rPr>
              <a:t>Skysmart</a:t>
            </a:r>
            <a:r>
              <a:rPr lang="ru-RU" sz="2400" b="1" dirty="0">
                <a:solidFill>
                  <a:srgbClr val="002060"/>
                </a:solidFill>
                <a:latin typeface="Carlito"/>
              </a:rPr>
              <a:t> </a:t>
            </a:r>
            <a:endParaRPr lang="en-US" sz="2400" b="1" dirty="0">
              <a:solidFill>
                <a:srgbClr val="002060"/>
              </a:solidFill>
              <a:latin typeface="Carlito"/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3289483" y="5784099"/>
            <a:ext cx="801653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chemeClr val="accent1">
                    <a:lumMod val="50000"/>
                  </a:schemeClr>
                </a:solidFill>
              </a:rPr>
              <a:t>179 тысяч учителей пользуются интерактивной рабочей тетрадью.</a:t>
            </a:r>
          </a:p>
        </p:txBody>
      </p:sp>
      <p:pic>
        <p:nvPicPr>
          <p:cNvPr id="58" name="Picture 10" descr="Изображение География. Мой тренажёр. 5-6 классы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240" y="791994"/>
            <a:ext cx="1802957" cy="25075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Рисунок 5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7608" y="3413168"/>
            <a:ext cx="1864147" cy="2570986"/>
          </a:xfrm>
          <a:prstGeom prst="rect">
            <a:avLst/>
          </a:prstGeom>
        </p:spPr>
      </p:pic>
      <p:sp>
        <p:nvSpPr>
          <p:cNvPr id="61" name="Прямоугольник 60"/>
          <p:cNvSpPr/>
          <p:nvPr/>
        </p:nvSpPr>
        <p:spPr>
          <a:xfrm>
            <a:off x="3431526" y="1895146"/>
            <a:ext cx="7155289" cy="23083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/>
              <a:t>Задания интерактивной рабочей тетради разработаны на основе рабочих тетрадей АО «Издательство «Просвещение»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/>
              <a:t>Предназначена для использования на уроках или для отправки ученикам в качестве домашнего задани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/>
              <a:t>Входит в федеральный перечень рекомендованных цифровых ресурсо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/>
              <a:t>Автоматическая проверка заданий :  учитель получит результаты сразу, как только ученик доделает работу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/>
              <a:t>Статистика по классу и по каждому ученику: правильные ответы и ошибки, трудные темы, средний балл ученика.</a:t>
            </a:r>
          </a:p>
        </p:txBody>
      </p:sp>
      <p:pic>
        <p:nvPicPr>
          <p:cNvPr id="62" name="Рисунок 61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512778" y="933029"/>
            <a:ext cx="2931994" cy="685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</p:pic>
      <p:cxnSp>
        <p:nvCxnSpPr>
          <p:cNvPr id="63" name="Прямая соединительная линия 62"/>
          <p:cNvCxnSpPr/>
          <p:nvPr/>
        </p:nvCxnSpPr>
        <p:spPr>
          <a:xfrm>
            <a:off x="1616551" y="575381"/>
            <a:ext cx="9806910" cy="19666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3690628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89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1" name="Группа 40">
            <a:extLst>
              <a:ext uri="{FF2B5EF4-FFF2-40B4-BE49-F238E27FC236}">
                <a16:creationId xmlns:a16="http://schemas.microsoft.com/office/drawing/2014/main" xmlns="" id="{CE17528F-A29B-4404-8508-AC7A0AD4D1CF}"/>
              </a:ext>
            </a:extLst>
          </p:cNvPr>
          <p:cNvGrpSpPr/>
          <p:nvPr/>
        </p:nvGrpSpPr>
        <p:grpSpPr>
          <a:xfrm>
            <a:off x="10920853" y="133368"/>
            <a:ext cx="1036335" cy="358339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xmlns="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400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:a16="http://schemas.microsoft.com/office/drawing/2014/main" xmlns="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400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:a16="http://schemas.microsoft.com/office/drawing/2014/main" xmlns="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400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:a16="http://schemas.microsoft.com/office/drawing/2014/main" xmlns="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400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:a16="http://schemas.microsoft.com/office/drawing/2014/main" xmlns="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400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:a16="http://schemas.microsoft.com/office/drawing/2014/main" xmlns="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400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:a16="http://schemas.microsoft.com/office/drawing/2014/main" xmlns="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400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xmlns="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400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xmlns="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400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:a16="http://schemas.microsoft.com/office/drawing/2014/main" xmlns="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400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xmlns="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400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xmlns="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400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:a16="http://schemas.microsoft.com/office/drawing/2014/main" xmlns="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400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:a16="http://schemas.microsoft.com/office/drawing/2014/main" xmlns="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400">
                <a:solidFill>
                  <a:schemeClr val="bg1"/>
                </a:solidFill>
              </a:endParaRPr>
            </a:p>
          </p:txBody>
        </p:sp>
      </p:grpSp>
      <p:sp>
        <p:nvSpPr>
          <p:cNvPr id="79" name="Прямоугольник 78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99174" y="6497487"/>
            <a:ext cx="2101327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20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5368615" y="2673281"/>
            <a:ext cx="6096000" cy="387798"/>
          </a:xfrm>
          <a:prstGeom prst="rect">
            <a:avLst/>
          </a:prstGeom>
        </p:spPr>
        <p:txBody>
          <a:bodyPr>
            <a:spAutoFit/>
          </a:bodyPr>
          <a:lstStyle/>
          <a:p>
            <a:pPr lvl="0">
              <a:lnSpc>
                <a:spcPct val="80000"/>
              </a:lnSpc>
              <a:defRPr/>
            </a:pPr>
            <a:endParaRPr lang="ru-RU" sz="2400" spc="-53" dirty="0">
              <a:solidFill>
                <a:schemeClr val="accent5">
                  <a:lumMod val="7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1343471" y="156860"/>
            <a:ext cx="10609165" cy="11392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2700"/>
              </a:lnSpc>
            </a:pPr>
            <a:r>
              <a:rPr lang="ru-RU" sz="2400" b="1" dirty="0">
                <a:solidFill>
                  <a:srgbClr val="002060"/>
                </a:solidFill>
                <a:latin typeface="Carlito"/>
              </a:rPr>
              <a:t>ШИРОКИЙ ВЫБОР УЧЕБНЫХ ПОСОБИЙ ПО ФУНКЦИОНАЛЬНОЙ ГРАМОТНОСТИ</a:t>
            </a:r>
          </a:p>
          <a:p>
            <a:pPr algn="ctr">
              <a:lnSpc>
                <a:spcPts val="2700"/>
              </a:lnSpc>
            </a:pPr>
            <a:endParaRPr lang="ru-RU" sz="2400" b="1" dirty="0">
              <a:solidFill>
                <a:srgbClr val="002060"/>
              </a:solidFill>
              <a:latin typeface="Carlito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-3051" y="1029097"/>
            <a:ext cx="5983721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54" name="TextBox 53"/>
          <p:cNvSpPr txBox="1"/>
          <p:nvPr/>
        </p:nvSpPr>
        <p:spPr>
          <a:xfrm>
            <a:off x="1753355" y="1212463"/>
            <a:ext cx="2053398" cy="4025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20000"/>
              </a:lnSpc>
              <a:defRPr/>
            </a:pPr>
            <a:r>
              <a:rPr lang="ru-RU" b="1" dirty="0">
                <a:solidFill>
                  <a:schemeClr val="tx1">
                    <a:lumMod val="95000"/>
                    <a:lumOff val="5000"/>
                  </a:schemeClr>
                </a:solidFill>
                <a:ea typeface="Open Sans" pitchFamily="34" charset="0"/>
                <a:cs typeface="Open Sans" pitchFamily="34" charset="0"/>
              </a:rPr>
              <a:t>Печатные пособия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1315702" y="2330030"/>
            <a:ext cx="4664968" cy="2834622"/>
          </a:xfrm>
          <a:prstGeom prst="rect">
            <a:avLst/>
          </a:prstGeom>
        </p:spPr>
        <p:txBody>
          <a:bodyPr wrap="square" lIns="0" tIns="45720" rIns="91440" bIns="45720">
            <a:spAutoFit/>
          </a:bodyPr>
          <a:lstStyle/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ea typeface="Open Sans" pitchFamily="34" charset="0"/>
                <a:cs typeface="Open Sans" pitchFamily="34" charset="0"/>
                <a:hlinkClick r:id="rId7"/>
              </a:rPr>
              <a:t>Серия «Функциональная грамотность. Учимся для жизни (5-9)»</a:t>
            </a:r>
            <a:r>
              <a:rPr lang="ru-RU" sz="1400" dirty="0">
                <a:ea typeface="Open Sans" pitchFamily="34" charset="0"/>
                <a:cs typeface="Open Sans" pitchFamily="34" charset="0"/>
              </a:rPr>
              <a:t> (Выпуск 2 – Новинка 2021)</a:t>
            </a: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endParaRPr lang="ru-RU" sz="1400" dirty="0">
              <a:ea typeface="Open Sans" pitchFamily="34" charset="0"/>
              <a:cs typeface="Open Sans" pitchFamily="34" charset="0"/>
            </a:endParaRP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ea typeface="Open Sans" pitchFamily="34" charset="0"/>
                <a:cs typeface="Open Sans" pitchFamily="34" charset="0"/>
                <a:hlinkClick r:id="rId8"/>
              </a:rPr>
              <a:t>Серия «Функциональная грамотность. Тренажеры (5-9)»</a:t>
            </a:r>
            <a:endParaRPr lang="ru-RU" sz="1400" dirty="0">
              <a:ea typeface="Open Sans" pitchFamily="34" charset="0"/>
              <a:cs typeface="Open Sans" pitchFamily="34" charset="0"/>
            </a:endParaRP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endParaRPr lang="ru-RU" sz="1400" dirty="0">
              <a:ea typeface="Open Sans" pitchFamily="34" charset="0"/>
              <a:cs typeface="Open Sans" pitchFamily="34" charset="0"/>
            </a:endParaRP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ea typeface="Open Sans" pitchFamily="34" charset="0"/>
                <a:cs typeface="Open Sans" pitchFamily="34" charset="0"/>
                <a:hlinkClick r:id="rId9"/>
              </a:rPr>
              <a:t>Серия «Задачник»</a:t>
            </a:r>
            <a:endParaRPr lang="ru-RU" sz="1400" dirty="0">
              <a:ea typeface="Open Sans" pitchFamily="34" charset="0"/>
              <a:cs typeface="Open Sans" pitchFamily="34" charset="0"/>
            </a:endParaRP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endParaRPr lang="ru-RU" sz="1400" dirty="0">
              <a:ea typeface="Open Sans" pitchFamily="34" charset="0"/>
              <a:cs typeface="Open Sans" pitchFamily="34" charset="0"/>
            </a:endParaRP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ea typeface="Open Sans" pitchFamily="34" charset="0"/>
                <a:cs typeface="Open Sans" pitchFamily="34" charset="0"/>
                <a:hlinkClick r:id="rId10"/>
              </a:rPr>
              <a:t>Серия «ФГОС. Оценка образовательных достижений»</a:t>
            </a:r>
            <a:endParaRPr lang="ru-RU" sz="1400" dirty="0"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6227805" y="1029097"/>
            <a:ext cx="5967246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59" name="TextBox 58"/>
          <p:cNvSpPr txBox="1"/>
          <p:nvPr/>
        </p:nvSpPr>
        <p:spPr>
          <a:xfrm>
            <a:off x="7737873" y="1212463"/>
            <a:ext cx="3348338" cy="4025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20000"/>
              </a:lnSpc>
              <a:defRPr/>
            </a:pPr>
            <a:r>
              <a:rPr lang="ru-RU" b="1" dirty="0">
                <a:solidFill>
                  <a:schemeClr val="tx1">
                    <a:lumMod val="95000"/>
                    <a:lumOff val="5000"/>
                  </a:schemeClr>
                </a:solidFill>
                <a:ea typeface="Open Sans" pitchFamily="34" charset="0"/>
                <a:cs typeface="Open Sans" pitchFamily="34" charset="0"/>
              </a:rPr>
              <a:t>Электронный БАНК ЗАДАНИЙ</a:t>
            </a:r>
          </a:p>
        </p:txBody>
      </p:sp>
      <p:pic>
        <p:nvPicPr>
          <p:cNvPr id="60" name="Рисунок 59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1897" y="2239330"/>
            <a:ext cx="728841" cy="728841"/>
          </a:xfrm>
          <a:prstGeom prst="rect">
            <a:avLst/>
          </a:prstGeom>
        </p:spPr>
      </p:pic>
      <p:pic>
        <p:nvPicPr>
          <p:cNvPr id="61" name="Рисунок 60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254" y="3119792"/>
            <a:ext cx="726248" cy="698047"/>
          </a:xfrm>
          <a:prstGeom prst="rect">
            <a:avLst/>
          </a:prstGeom>
        </p:spPr>
      </p:pic>
      <p:pic>
        <p:nvPicPr>
          <p:cNvPr id="62" name="Рисунок 61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740" y="3962502"/>
            <a:ext cx="626204" cy="623577"/>
          </a:xfrm>
          <a:prstGeom prst="rect">
            <a:avLst/>
          </a:prstGeom>
        </p:spPr>
      </p:pic>
      <p:pic>
        <p:nvPicPr>
          <p:cNvPr id="63" name="Рисунок 62"/>
          <p:cNvPicPr>
            <a:picLocks noChangeAspect="1"/>
          </p:cNvPicPr>
          <p:nvPr/>
        </p:nvPicPr>
        <p:blipFill rotWithShape="1">
          <a:blip r:embed="rId14"/>
          <a:srcRect l="14692" t="20657" r="22083" b="16289"/>
          <a:stretch/>
        </p:blipFill>
        <p:spPr>
          <a:xfrm>
            <a:off x="213651" y="4752344"/>
            <a:ext cx="1057109" cy="478690"/>
          </a:xfrm>
          <a:prstGeom prst="rect">
            <a:avLst/>
          </a:prstGeom>
        </p:spPr>
      </p:pic>
      <p:sp>
        <p:nvSpPr>
          <p:cNvPr id="65" name="Прямоугольник 64"/>
          <p:cNvSpPr/>
          <p:nvPr/>
        </p:nvSpPr>
        <p:spPr>
          <a:xfrm>
            <a:off x="6610599" y="2113363"/>
            <a:ext cx="4673141" cy="10064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dirty="0">
                <a:ea typeface="Open Sans" pitchFamily="34" charset="0"/>
                <a:cs typeface="Open Sans" pitchFamily="34" charset="0"/>
              </a:rPr>
              <a:t>Полнофункциональный цифровой тренажер, который имитирует задания </a:t>
            </a:r>
            <a:r>
              <a:rPr lang="en-US" dirty="0">
                <a:ea typeface="Open Sans" pitchFamily="34" charset="0"/>
                <a:cs typeface="Open Sans" pitchFamily="34" charset="0"/>
              </a:rPr>
              <a:t>PISA </a:t>
            </a:r>
            <a:r>
              <a:rPr lang="ru-RU" dirty="0">
                <a:ea typeface="Open Sans" pitchFamily="34" charset="0"/>
                <a:cs typeface="Open Sans" pitchFamily="34" charset="0"/>
              </a:rPr>
              <a:t> для начальной и основной школы</a:t>
            </a:r>
          </a:p>
        </p:txBody>
      </p:sp>
      <p:pic>
        <p:nvPicPr>
          <p:cNvPr id="66" name="Picture 11" descr="A picture containing text, different, items, various&#10;&#10;Description automatically generated">
            <a:extLst>
              <a:ext uri="{FF2B5EF4-FFF2-40B4-BE49-F238E27FC236}">
                <a16:creationId xmlns:a16="http://schemas.microsoft.com/office/drawing/2014/main" xmlns="" id="{C1CD9805-53F6-334B-B7D2-59AA05C5E8AA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667186" y="3197697"/>
            <a:ext cx="4634242" cy="231712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7" name="Прямоугольник 66">
            <a:hlinkClick r:id="rId16"/>
          </p:cNvPr>
          <p:cNvSpPr/>
          <p:nvPr/>
        </p:nvSpPr>
        <p:spPr>
          <a:xfrm>
            <a:off x="8505801" y="5787186"/>
            <a:ext cx="1577436" cy="58699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/>
              <a:t>Открыть Банк заданий</a:t>
            </a:r>
          </a:p>
        </p:txBody>
      </p:sp>
      <p:pic>
        <p:nvPicPr>
          <p:cNvPr id="68" name="Рисунок 67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7786" y="103396"/>
            <a:ext cx="728841" cy="728841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1532960" y="5851954"/>
            <a:ext cx="2463281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600" dirty="0">
                <a:hlinkClick r:id="rId17"/>
              </a:rPr>
              <a:t>Узнать больше </a:t>
            </a:r>
          </a:p>
          <a:p>
            <a:pPr algn="ctr"/>
            <a:r>
              <a:rPr lang="ru-RU" sz="1600" dirty="0">
                <a:hlinkClick r:id="rId17"/>
              </a:rPr>
              <a:t>и купить</a:t>
            </a:r>
            <a:endParaRPr lang="ru-RU" sz="1600" dirty="0"/>
          </a:p>
        </p:txBody>
      </p:sp>
      <p:pic>
        <p:nvPicPr>
          <p:cNvPr id="36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18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607405" y="6011463"/>
            <a:ext cx="432048" cy="444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4792" name="Picture 8" descr="http://qrcoder.ru/code/?https%3A%2F%2Fprosv.ru%2Fpages%2Fpisa.html&amp;4&amp;0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1496" y="5594681"/>
            <a:ext cx="972000" cy="9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18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8048546" y="6053411"/>
            <a:ext cx="432048" cy="444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566580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4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object 24"/>
          <p:cNvSpPr txBox="1"/>
          <p:nvPr/>
        </p:nvSpPr>
        <p:spPr>
          <a:xfrm>
            <a:off x="4981129" y="185199"/>
            <a:ext cx="3163682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lang="ru-RU" sz="2400" b="1" dirty="0">
                <a:solidFill>
                  <a:srgbClr val="002060"/>
                </a:solidFill>
                <a:latin typeface="Carlito"/>
                <a:cs typeface="Carlito"/>
              </a:rPr>
              <a:t>НОВЫЙ ФГОС </a:t>
            </a:r>
            <a:endParaRPr sz="2400" b="1" dirty="0">
              <a:solidFill>
                <a:srgbClr val="002060"/>
              </a:solidFill>
              <a:latin typeface="Carlito"/>
              <a:cs typeface="Carlito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212F9833-CF60-E142-AC53-79C545F93EF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030" y="956814"/>
            <a:ext cx="6380267" cy="5394960"/>
          </a:xfrm>
          <a:prstGeom prst="rect">
            <a:avLst/>
          </a:prstGeom>
        </p:spPr>
      </p:pic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5C5F9A4B-5F04-014C-9C82-E644A7E754AF}"/>
              </a:ext>
            </a:extLst>
          </p:cNvPr>
          <p:cNvSpPr/>
          <p:nvPr/>
        </p:nvSpPr>
        <p:spPr>
          <a:xfrm>
            <a:off x="7362527" y="1006502"/>
            <a:ext cx="304282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hlinkClick r:id="rId5"/>
              </a:rPr>
              <a:t>http://www.instrao.ru/primer</a:t>
            </a:r>
            <a:r>
              <a:rPr lang="ru-RU" dirty="0"/>
              <a:t> 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E9C29457-0111-C349-96D7-DF8EFECEF83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2949" y="2322576"/>
            <a:ext cx="5894942" cy="3217174"/>
          </a:xfrm>
          <a:prstGeom prst="rect">
            <a:avLst/>
          </a:prstGeom>
        </p:spPr>
      </p:pic>
      <p:sp>
        <p:nvSpPr>
          <p:cNvPr id="11" name="Овал 10">
            <a:extLst>
              <a:ext uri="{FF2B5EF4-FFF2-40B4-BE49-F238E27FC236}">
                <a16:creationId xmlns:a16="http://schemas.microsoft.com/office/drawing/2014/main" xmlns="" id="{D021F597-A833-7449-8C3E-C3A62C790F53}"/>
              </a:ext>
            </a:extLst>
          </p:cNvPr>
          <p:cNvSpPr/>
          <p:nvPr/>
        </p:nvSpPr>
        <p:spPr>
          <a:xfrm>
            <a:off x="5916167" y="4361688"/>
            <a:ext cx="5396615" cy="35661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3700532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67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xmlns="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11375669" y="2257824"/>
            <a:ext cx="812363" cy="754751"/>
          </a:xfrm>
          <a:prstGeom prst="rect">
            <a:avLst/>
          </a:prstGeom>
          <a:solidFill>
            <a:srgbClr val="40D4E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3"/>
          <p:cNvSpPr>
            <a:spLocks noChangeArrowheads="1"/>
          </p:cNvSpPr>
          <p:nvPr/>
        </p:nvSpPr>
        <p:spPr bwMode="auto">
          <a:xfrm>
            <a:off x="11375669" y="5276823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4"/>
          <p:cNvSpPr>
            <a:spLocks noChangeArrowheads="1"/>
          </p:cNvSpPr>
          <p:nvPr/>
        </p:nvSpPr>
        <p:spPr bwMode="auto">
          <a:xfrm>
            <a:off x="11376586" y="4522072"/>
            <a:ext cx="812363" cy="754751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17"/>
          <p:cNvSpPr>
            <a:spLocks noChangeArrowheads="1"/>
          </p:cNvSpPr>
          <p:nvPr/>
        </p:nvSpPr>
        <p:spPr bwMode="auto">
          <a:xfrm>
            <a:off x="11375670" y="-4589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19"/>
          <p:cNvSpPr>
            <a:spLocks noChangeArrowheads="1"/>
          </p:cNvSpPr>
          <p:nvPr/>
        </p:nvSpPr>
        <p:spPr bwMode="auto">
          <a:xfrm>
            <a:off x="11376586" y="3012572"/>
            <a:ext cx="812363" cy="754751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1"/>
          <p:cNvSpPr>
            <a:spLocks noChangeArrowheads="1"/>
          </p:cNvSpPr>
          <p:nvPr/>
        </p:nvSpPr>
        <p:spPr bwMode="auto">
          <a:xfrm>
            <a:off x="11376586" y="6031572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2"/>
          <p:cNvSpPr>
            <a:spLocks noChangeArrowheads="1"/>
          </p:cNvSpPr>
          <p:nvPr/>
        </p:nvSpPr>
        <p:spPr bwMode="auto">
          <a:xfrm>
            <a:off x="11375670" y="1502768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2" name="Rectangle 25"/>
          <p:cNvSpPr>
            <a:spLocks noChangeArrowheads="1"/>
          </p:cNvSpPr>
          <p:nvPr/>
        </p:nvSpPr>
        <p:spPr bwMode="auto">
          <a:xfrm>
            <a:off x="11376586" y="3767322"/>
            <a:ext cx="812363" cy="754751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29"/>
          <p:cNvSpPr>
            <a:spLocks noChangeArrowheads="1"/>
          </p:cNvSpPr>
          <p:nvPr/>
        </p:nvSpPr>
        <p:spPr bwMode="auto">
          <a:xfrm>
            <a:off x="11375670" y="748019"/>
            <a:ext cx="812363" cy="754751"/>
          </a:xfrm>
          <a:prstGeom prst="rect">
            <a:avLst/>
          </a:prstGeom>
          <a:solidFill>
            <a:srgbClr val="9ED44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2"/>
          <p:cNvSpPr>
            <a:spLocks noEditPoints="1"/>
          </p:cNvSpPr>
          <p:nvPr/>
        </p:nvSpPr>
        <p:spPr bwMode="auto">
          <a:xfrm>
            <a:off x="11600809" y="2514255"/>
            <a:ext cx="362085" cy="271895"/>
          </a:xfrm>
          <a:custGeom>
            <a:avLst/>
            <a:gdLst>
              <a:gd name="T0" fmla="*/ 787 w 859"/>
              <a:gd name="T1" fmla="*/ 107 h 644"/>
              <a:gd name="T2" fmla="*/ 787 w 859"/>
              <a:gd name="T3" fmla="*/ 573 h 644"/>
              <a:gd name="T4" fmla="*/ 537 w 859"/>
              <a:gd name="T5" fmla="*/ 573 h 644"/>
              <a:gd name="T6" fmla="*/ 465 w 859"/>
              <a:gd name="T7" fmla="*/ 644 h 644"/>
              <a:gd name="T8" fmla="*/ 859 w 859"/>
              <a:gd name="T9" fmla="*/ 644 h 644"/>
              <a:gd name="T10" fmla="*/ 859 w 859"/>
              <a:gd name="T11" fmla="*/ 107 h 644"/>
              <a:gd name="T12" fmla="*/ 787 w 859"/>
              <a:gd name="T13" fmla="*/ 107 h 644"/>
              <a:gd name="T14" fmla="*/ 476 w 859"/>
              <a:gd name="T15" fmla="*/ 476 h 644"/>
              <a:gd name="T16" fmla="*/ 383 w 859"/>
              <a:gd name="T17" fmla="*/ 476 h 644"/>
              <a:gd name="T18" fmla="*/ 373 w 859"/>
              <a:gd name="T19" fmla="*/ 465 h 644"/>
              <a:gd name="T20" fmla="*/ 179 w 859"/>
              <a:gd name="T21" fmla="*/ 465 h 644"/>
              <a:gd name="T22" fmla="*/ 179 w 859"/>
              <a:gd name="T23" fmla="*/ 71 h 644"/>
              <a:gd name="T24" fmla="*/ 344 w 859"/>
              <a:gd name="T25" fmla="*/ 71 h 644"/>
              <a:gd name="T26" fmla="*/ 393 w 859"/>
              <a:gd name="T27" fmla="*/ 96 h 644"/>
              <a:gd name="T28" fmla="*/ 393 w 859"/>
              <a:gd name="T29" fmla="*/ 358 h 644"/>
              <a:gd name="T30" fmla="*/ 465 w 859"/>
              <a:gd name="T31" fmla="*/ 358 h 644"/>
              <a:gd name="T32" fmla="*/ 465 w 859"/>
              <a:gd name="T33" fmla="*/ 96 h 644"/>
              <a:gd name="T34" fmla="*/ 515 w 859"/>
              <a:gd name="T35" fmla="*/ 71 h 644"/>
              <a:gd name="T36" fmla="*/ 680 w 859"/>
              <a:gd name="T37" fmla="*/ 71 h 644"/>
              <a:gd name="T38" fmla="*/ 680 w 859"/>
              <a:gd name="T39" fmla="*/ 465 h 644"/>
              <a:gd name="T40" fmla="*/ 486 w 859"/>
              <a:gd name="T41" fmla="*/ 465 h 644"/>
              <a:gd name="T42" fmla="*/ 476 w 859"/>
              <a:gd name="T43" fmla="*/ 476 h 644"/>
              <a:gd name="T44" fmla="*/ 752 w 859"/>
              <a:gd name="T45" fmla="*/ 537 h 644"/>
              <a:gd name="T46" fmla="*/ 752 w 859"/>
              <a:gd name="T47" fmla="*/ 0 h 644"/>
              <a:gd name="T48" fmla="*/ 486 w 859"/>
              <a:gd name="T49" fmla="*/ 0 h 644"/>
              <a:gd name="T50" fmla="*/ 476 w 859"/>
              <a:gd name="T51" fmla="*/ 10 h 644"/>
              <a:gd name="T52" fmla="*/ 383 w 859"/>
              <a:gd name="T53" fmla="*/ 10 h 644"/>
              <a:gd name="T54" fmla="*/ 373 w 859"/>
              <a:gd name="T55" fmla="*/ 0 h 644"/>
              <a:gd name="T56" fmla="*/ 107 w 859"/>
              <a:gd name="T57" fmla="*/ 0 h 644"/>
              <a:gd name="T58" fmla="*/ 107 w 859"/>
              <a:gd name="T59" fmla="*/ 537 h 644"/>
              <a:gd name="T60" fmla="*/ 344 w 859"/>
              <a:gd name="T61" fmla="*/ 537 h 644"/>
              <a:gd name="T62" fmla="*/ 429 w 859"/>
              <a:gd name="T63" fmla="*/ 566 h 644"/>
              <a:gd name="T64" fmla="*/ 515 w 859"/>
              <a:gd name="T65" fmla="*/ 537 h 644"/>
              <a:gd name="T66" fmla="*/ 752 w 859"/>
              <a:gd name="T67" fmla="*/ 537 h 644"/>
              <a:gd name="T68" fmla="*/ 71 w 859"/>
              <a:gd name="T69" fmla="*/ 573 h 644"/>
              <a:gd name="T70" fmla="*/ 71 w 859"/>
              <a:gd name="T71" fmla="*/ 107 h 644"/>
              <a:gd name="T72" fmla="*/ 0 w 859"/>
              <a:gd name="T73" fmla="*/ 107 h 644"/>
              <a:gd name="T74" fmla="*/ 0 w 859"/>
              <a:gd name="T75" fmla="*/ 644 h 644"/>
              <a:gd name="T76" fmla="*/ 394 w 859"/>
              <a:gd name="T77" fmla="*/ 644 h 644"/>
              <a:gd name="T78" fmla="*/ 322 w 859"/>
              <a:gd name="T79" fmla="*/ 573 h 644"/>
              <a:gd name="T80" fmla="*/ 71 w 859"/>
              <a:gd name="T81" fmla="*/ 573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9" h="644">
                <a:moveTo>
                  <a:pt x="787" y="107"/>
                </a:moveTo>
                <a:lnTo>
                  <a:pt x="787" y="573"/>
                </a:lnTo>
                <a:lnTo>
                  <a:pt x="537" y="573"/>
                </a:lnTo>
                <a:lnTo>
                  <a:pt x="465" y="644"/>
                </a:lnTo>
                <a:lnTo>
                  <a:pt x="859" y="644"/>
                </a:lnTo>
                <a:lnTo>
                  <a:pt x="859" y="107"/>
                </a:lnTo>
                <a:lnTo>
                  <a:pt x="787" y="107"/>
                </a:lnTo>
                <a:close/>
                <a:moveTo>
                  <a:pt x="476" y="476"/>
                </a:moveTo>
                <a:cubicBezTo>
                  <a:pt x="450" y="501"/>
                  <a:pt x="409" y="501"/>
                  <a:pt x="383" y="476"/>
                </a:cubicBezTo>
                <a:lnTo>
                  <a:pt x="373" y="465"/>
                </a:lnTo>
                <a:lnTo>
                  <a:pt x="179" y="465"/>
                </a:lnTo>
                <a:lnTo>
                  <a:pt x="179" y="71"/>
                </a:lnTo>
                <a:lnTo>
                  <a:pt x="344" y="71"/>
                </a:lnTo>
                <a:cubicBezTo>
                  <a:pt x="359" y="71"/>
                  <a:pt x="393" y="91"/>
                  <a:pt x="393" y="96"/>
                </a:cubicBezTo>
                <a:lnTo>
                  <a:pt x="393" y="358"/>
                </a:lnTo>
                <a:lnTo>
                  <a:pt x="465" y="358"/>
                </a:lnTo>
                <a:lnTo>
                  <a:pt x="465" y="96"/>
                </a:lnTo>
                <a:cubicBezTo>
                  <a:pt x="465" y="91"/>
                  <a:pt x="500" y="71"/>
                  <a:pt x="515" y="71"/>
                </a:cubicBezTo>
                <a:lnTo>
                  <a:pt x="680" y="71"/>
                </a:lnTo>
                <a:lnTo>
                  <a:pt x="680" y="465"/>
                </a:lnTo>
                <a:lnTo>
                  <a:pt x="486" y="465"/>
                </a:lnTo>
                <a:lnTo>
                  <a:pt x="476" y="476"/>
                </a:lnTo>
                <a:close/>
                <a:moveTo>
                  <a:pt x="752" y="537"/>
                </a:moveTo>
                <a:lnTo>
                  <a:pt x="752" y="0"/>
                </a:lnTo>
                <a:lnTo>
                  <a:pt x="486" y="0"/>
                </a:lnTo>
                <a:lnTo>
                  <a:pt x="476" y="10"/>
                </a:lnTo>
                <a:cubicBezTo>
                  <a:pt x="450" y="36"/>
                  <a:pt x="409" y="36"/>
                  <a:pt x="383" y="10"/>
                </a:cubicBezTo>
                <a:lnTo>
                  <a:pt x="373" y="0"/>
                </a:lnTo>
                <a:lnTo>
                  <a:pt x="107" y="0"/>
                </a:lnTo>
                <a:lnTo>
                  <a:pt x="107" y="537"/>
                </a:lnTo>
                <a:lnTo>
                  <a:pt x="344" y="537"/>
                </a:lnTo>
                <a:cubicBezTo>
                  <a:pt x="369" y="573"/>
                  <a:pt x="399" y="566"/>
                  <a:pt x="429" y="566"/>
                </a:cubicBezTo>
                <a:cubicBezTo>
                  <a:pt x="460" y="566"/>
                  <a:pt x="490" y="573"/>
                  <a:pt x="515" y="537"/>
                </a:cubicBezTo>
                <a:lnTo>
                  <a:pt x="752" y="537"/>
                </a:lnTo>
                <a:close/>
                <a:moveTo>
                  <a:pt x="71" y="573"/>
                </a:moveTo>
                <a:lnTo>
                  <a:pt x="71" y="107"/>
                </a:lnTo>
                <a:lnTo>
                  <a:pt x="0" y="107"/>
                </a:lnTo>
                <a:lnTo>
                  <a:pt x="0" y="644"/>
                </a:lnTo>
                <a:lnTo>
                  <a:pt x="394" y="644"/>
                </a:lnTo>
                <a:lnTo>
                  <a:pt x="322" y="573"/>
                </a:lnTo>
                <a:lnTo>
                  <a:pt x="71" y="5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0"/>
          <p:cNvSpPr>
            <a:spLocks noEditPoints="1"/>
          </p:cNvSpPr>
          <p:nvPr/>
        </p:nvSpPr>
        <p:spPr bwMode="auto">
          <a:xfrm>
            <a:off x="11601728" y="1744503"/>
            <a:ext cx="360248" cy="301287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8" name="Freeform 41"/>
          <p:cNvSpPr>
            <a:spLocks/>
          </p:cNvSpPr>
          <p:nvPr/>
        </p:nvSpPr>
        <p:spPr bwMode="auto">
          <a:xfrm>
            <a:off x="11600809" y="4756459"/>
            <a:ext cx="362085" cy="315984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69" name="Группа 68"/>
          <p:cNvGrpSpPr/>
          <p:nvPr/>
        </p:nvGrpSpPr>
        <p:grpSpPr>
          <a:xfrm>
            <a:off x="11614594" y="200960"/>
            <a:ext cx="334516" cy="361915"/>
            <a:chOff x="477468" y="2705515"/>
            <a:chExt cx="409903" cy="443477"/>
          </a:xfrm>
        </p:grpSpPr>
        <p:sp>
          <p:nvSpPr>
            <p:cNvPr id="70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1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72" name="Freeform 44"/>
          <p:cNvSpPr>
            <a:spLocks noEditPoints="1"/>
          </p:cNvSpPr>
          <p:nvPr/>
        </p:nvSpPr>
        <p:spPr bwMode="auto">
          <a:xfrm>
            <a:off x="11606322" y="5464056"/>
            <a:ext cx="351059" cy="380284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3" name="Freeform 45"/>
          <p:cNvSpPr>
            <a:spLocks noEditPoints="1"/>
          </p:cNvSpPr>
          <p:nvPr/>
        </p:nvSpPr>
        <p:spPr bwMode="auto">
          <a:xfrm>
            <a:off x="11601728" y="966788"/>
            <a:ext cx="360248" cy="347216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89" name="Freeform 46"/>
          <p:cNvSpPr>
            <a:spLocks noEditPoints="1"/>
          </p:cNvSpPr>
          <p:nvPr/>
        </p:nvSpPr>
        <p:spPr bwMode="auto">
          <a:xfrm>
            <a:off x="11655949" y="3977824"/>
            <a:ext cx="251807" cy="363751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5" name="Freeform 52"/>
          <p:cNvSpPr>
            <a:spLocks noEditPoints="1"/>
          </p:cNvSpPr>
          <p:nvPr/>
        </p:nvSpPr>
        <p:spPr bwMode="auto">
          <a:xfrm>
            <a:off x="11605404" y="3223075"/>
            <a:ext cx="352896" cy="36375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Freeform 53"/>
          <p:cNvSpPr>
            <a:spLocks noEditPoints="1"/>
          </p:cNvSpPr>
          <p:nvPr/>
        </p:nvSpPr>
        <p:spPr bwMode="auto">
          <a:xfrm>
            <a:off x="11594376" y="6260448"/>
            <a:ext cx="374952" cy="327005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115" name="AutoShape 4"/>
          <p:cNvSpPr>
            <a:spLocks noChangeAspect="1" noChangeArrowheads="1" noTextEdit="1"/>
          </p:cNvSpPr>
          <p:nvPr/>
        </p:nvSpPr>
        <p:spPr bwMode="auto">
          <a:xfrm>
            <a:off x="5844301" y="1808388"/>
            <a:ext cx="918665" cy="317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79" name="Группа 78"/>
          <p:cNvGrpSpPr/>
          <p:nvPr/>
        </p:nvGrpSpPr>
        <p:grpSpPr>
          <a:xfrm>
            <a:off x="300051" y="-9192"/>
            <a:ext cx="1268960" cy="438775"/>
            <a:chOff x="254665" y="195486"/>
            <a:chExt cx="951720" cy="329081"/>
          </a:xfrm>
        </p:grpSpPr>
        <p:sp>
          <p:nvSpPr>
            <p:cNvPr id="80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3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4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5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6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7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8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0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1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2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3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4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31" name="Рисунок 130"/>
          <p:cNvPicPr>
            <a:picLocks noChangeAspect="1"/>
          </p:cNvPicPr>
          <p:nvPr/>
        </p:nvPicPr>
        <p:blipFill rotWithShape="1">
          <a:blip r:embed="rId8"/>
          <a:srcRect t="1344" r="1552"/>
          <a:stretch/>
        </p:blipFill>
        <p:spPr>
          <a:xfrm>
            <a:off x="355072" y="1086093"/>
            <a:ext cx="1552404" cy="2126752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9" name="Рисунок 12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1099" y="1117063"/>
            <a:ext cx="1569786" cy="212131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Прямоугольник 6"/>
          <p:cNvSpPr/>
          <p:nvPr/>
        </p:nvSpPr>
        <p:spPr>
          <a:xfrm>
            <a:off x="2171986" y="51172"/>
            <a:ext cx="894918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>
                <a:solidFill>
                  <a:srgbClr val="002060"/>
                </a:solidFill>
              </a:rPr>
              <a:t>СЕРИЯ «ФУНКЦИОНАЛЬНАЯ ГРАМОТНОСТЬ». Эталонные задания</a:t>
            </a:r>
          </a:p>
        </p:txBody>
      </p:sp>
      <p:cxnSp>
        <p:nvCxnSpPr>
          <p:cNvPr id="144" name="Прямая соединительная линия 143"/>
          <p:cNvCxnSpPr/>
          <p:nvPr/>
        </p:nvCxnSpPr>
        <p:spPr>
          <a:xfrm>
            <a:off x="1650777" y="471580"/>
            <a:ext cx="9701341" cy="15932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3010" name="Picture 66" descr="Изображение Читательская грамотность. Сборник эталонных заданий. Выпуск 1. Часть 2.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475" y="3531125"/>
            <a:ext cx="1593618" cy="211202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" name="Picture 10" descr="http://qrcoder.ru/code/?http%3A%2F%2Fshop.prosv.ru%2Fkatalog%3Futm_source%3Dprez%26utm_medium%3Dqr%26utm_campaign%3Duchimsy%23%2Forderby%3D11%26sFilters%3D13%2181288%3B&amp;10&amp;0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8438" y="4731928"/>
            <a:ext cx="2000316" cy="20003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3992780" y="1117063"/>
            <a:ext cx="4925311" cy="353943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/>
              <a:t>Предназначены для формирования и мониторинга всех компонентов функциональной грамотности, которые изучаются в международном сравнительном исследовании </a:t>
            </a:r>
            <a:r>
              <a:rPr lang="en-US" sz="1600" dirty="0"/>
              <a:t>PIS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/>
              <a:t>Предлагает обучающие и тренировочные задания, основанные на реальных жизненных ситуациях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/>
              <a:t>Содержит развернутые описания особенностей оценки заданий и рекомендации по их использованию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/>
              <a:t>Рекомендуется к использованию на уроках и внеурочной деятельности , а также для организации </a:t>
            </a:r>
            <a:r>
              <a:rPr lang="ru-RU" sz="1600" dirty="0" err="1"/>
              <a:t>внутришкольного</a:t>
            </a:r>
            <a:r>
              <a:rPr lang="ru-RU" sz="1600" dirty="0"/>
              <a:t> мониторинга по оценке функциональной грамотности обучающихся.</a:t>
            </a:r>
          </a:p>
        </p:txBody>
      </p:sp>
      <p:pic>
        <p:nvPicPr>
          <p:cNvPr id="130" name="Рисунок 129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7988" y="3520548"/>
            <a:ext cx="1562912" cy="211202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0" name="Picture 6"/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995" t="16238" r="2007" b="8767"/>
          <a:stretch/>
        </p:blipFill>
        <p:spPr bwMode="auto">
          <a:xfrm>
            <a:off x="9185574" y="1417706"/>
            <a:ext cx="1960759" cy="262534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52294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112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xmlns="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11375669" y="2257824"/>
            <a:ext cx="812363" cy="754751"/>
          </a:xfrm>
          <a:prstGeom prst="rect">
            <a:avLst/>
          </a:prstGeom>
          <a:solidFill>
            <a:srgbClr val="40D4E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3"/>
          <p:cNvSpPr>
            <a:spLocks noChangeArrowheads="1"/>
          </p:cNvSpPr>
          <p:nvPr/>
        </p:nvSpPr>
        <p:spPr bwMode="auto">
          <a:xfrm>
            <a:off x="11375669" y="5276823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4"/>
          <p:cNvSpPr>
            <a:spLocks noChangeArrowheads="1"/>
          </p:cNvSpPr>
          <p:nvPr/>
        </p:nvSpPr>
        <p:spPr bwMode="auto">
          <a:xfrm>
            <a:off x="11376586" y="4522072"/>
            <a:ext cx="812363" cy="754751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17"/>
          <p:cNvSpPr>
            <a:spLocks noChangeArrowheads="1"/>
          </p:cNvSpPr>
          <p:nvPr/>
        </p:nvSpPr>
        <p:spPr bwMode="auto">
          <a:xfrm>
            <a:off x="11375670" y="-4589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19"/>
          <p:cNvSpPr>
            <a:spLocks noChangeArrowheads="1"/>
          </p:cNvSpPr>
          <p:nvPr/>
        </p:nvSpPr>
        <p:spPr bwMode="auto">
          <a:xfrm>
            <a:off x="11376586" y="3012572"/>
            <a:ext cx="812363" cy="754751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1"/>
          <p:cNvSpPr>
            <a:spLocks noChangeArrowheads="1"/>
          </p:cNvSpPr>
          <p:nvPr/>
        </p:nvSpPr>
        <p:spPr bwMode="auto">
          <a:xfrm>
            <a:off x="11376586" y="6031572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2"/>
          <p:cNvSpPr>
            <a:spLocks noChangeArrowheads="1"/>
          </p:cNvSpPr>
          <p:nvPr/>
        </p:nvSpPr>
        <p:spPr bwMode="auto">
          <a:xfrm>
            <a:off x="11375670" y="1502768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2" name="Rectangle 25"/>
          <p:cNvSpPr>
            <a:spLocks noChangeArrowheads="1"/>
          </p:cNvSpPr>
          <p:nvPr/>
        </p:nvSpPr>
        <p:spPr bwMode="auto">
          <a:xfrm>
            <a:off x="11376586" y="3767322"/>
            <a:ext cx="812363" cy="754751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29"/>
          <p:cNvSpPr>
            <a:spLocks noChangeArrowheads="1"/>
          </p:cNvSpPr>
          <p:nvPr/>
        </p:nvSpPr>
        <p:spPr bwMode="auto">
          <a:xfrm>
            <a:off x="11375670" y="748019"/>
            <a:ext cx="812363" cy="754751"/>
          </a:xfrm>
          <a:prstGeom prst="rect">
            <a:avLst/>
          </a:prstGeom>
          <a:solidFill>
            <a:srgbClr val="9ED44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2"/>
          <p:cNvSpPr>
            <a:spLocks noEditPoints="1"/>
          </p:cNvSpPr>
          <p:nvPr/>
        </p:nvSpPr>
        <p:spPr bwMode="auto">
          <a:xfrm>
            <a:off x="11600809" y="2514255"/>
            <a:ext cx="362085" cy="271895"/>
          </a:xfrm>
          <a:custGeom>
            <a:avLst/>
            <a:gdLst>
              <a:gd name="T0" fmla="*/ 787 w 859"/>
              <a:gd name="T1" fmla="*/ 107 h 644"/>
              <a:gd name="T2" fmla="*/ 787 w 859"/>
              <a:gd name="T3" fmla="*/ 573 h 644"/>
              <a:gd name="T4" fmla="*/ 537 w 859"/>
              <a:gd name="T5" fmla="*/ 573 h 644"/>
              <a:gd name="T6" fmla="*/ 465 w 859"/>
              <a:gd name="T7" fmla="*/ 644 h 644"/>
              <a:gd name="T8" fmla="*/ 859 w 859"/>
              <a:gd name="T9" fmla="*/ 644 h 644"/>
              <a:gd name="T10" fmla="*/ 859 w 859"/>
              <a:gd name="T11" fmla="*/ 107 h 644"/>
              <a:gd name="T12" fmla="*/ 787 w 859"/>
              <a:gd name="T13" fmla="*/ 107 h 644"/>
              <a:gd name="T14" fmla="*/ 476 w 859"/>
              <a:gd name="T15" fmla="*/ 476 h 644"/>
              <a:gd name="T16" fmla="*/ 383 w 859"/>
              <a:gd name="T17" fmla="*/ 476 h 644"/>
              <a:gd name="T18" fmla="*/ 373 w 859"/>
              <a:gd name="T19" fmla="*/ 465 h 644"/>
              <a:gd name="T20" fmla="*/ 179 w 859"/>
              <a:gd name="T21" fmla="*/ 465 h 644"/>
              <a:gd name="T22" fmla="*/ 179 w 859"/>
              <a:gd name="T23" fmla="*/ 71 h 644"/>
              <a:gd name="T24" fmla="*/ 344 w 859"/>
              <a:gd name="T25" fmla="*/ 71 h 644"/>
              <a:gd name="T26" fmla="*/ 393 w 859"/>
              <a:gd name="T27" fmla="*/ 96 h 644"/>
              <a:gd name="T28" fmla="*/ 393 w 859"/>
              <a:gd name="T29" fmla="*/ 358 h 644"/>
              <a:gd name="T30" fmla="*/ 465 w 859"/>
              <a:gd name="T31" fmla="*/ 358 h 644"/>
              <a:gd name="T32" fmla="*/ 465 w 859"/>
              <a:gd name="T33" fmla="*/ 96 h 644"/>
              <a:gd name="T34" fmla="*/ 515 w 859"/>
              <a:gd name="T35" fmla="*/ 71 h 644"/>
              <a:gd name="T36" fmla="*/ 680 w 859"/>
              <a:gd name="T37" fmla="*/ 71 h 644"/>
              <a:gd name="T38" fmla="*/ 680 w 859"/>
              <a:gd name="T39" fmla="*/ 465 h 644"/>
              <a:gd name="T40" fmla="*/ 486 w 859"/>
              <a:gd name="T41" fmla="*/ 465 h 644"/>
              <a:gd name="T42" fmla="*/ 476 w 859"/>
              <a:gd name="T43" fmla="*/ 476 h 644"/>
              <a:gd name="T44" fmla="*/ 752 w 859"/>
              <a:gd name="T45" fmla="*/ 537 h 644"/>
              <a:gd name="T46" fmla="*/ 752 w 859"/>
              <a:gd name="T47" fmla="*/ 0 h 644"/>
              <a:gd name="T48" fmla="*/ 486 w 859"/>
              <a:gd name="T49" fmla="*/ 0 h 644"/>
              <a:gd name="T50" fmla="*/ 476 w 859"/>
              <a:gd name="T51" fmla="*/ 10 h 644"/>
              <a:gd name="T52" fmla="*/ 383 w 859"/>
              <a:gd name="T53" fmla="*/ 10 h 644"/>
              <a:gd name="T54" fmla="*/ 373 w 859"/>
              <a:gd name="T55" fmla="*/ 0 h 644"/>
              <a:gd name="T56" fmla="*/ 107 w 859"/>
              <a:gd name="T57" fmla="*/ 0 h 644"/>
              <a:gd name="T58" fmla="*/ 107 w 859"/>
              <a:gd name="T59" fmla="*/ 537 h 644"/>
              <a:gd name="T60" fmla="*/ 344 w 859"/>
              <a:gd name="T61" fmla="*/ 537 h 644"/>
              <a:gd name="T62" fmla="*/ 429 w 859"/>
              <a:gd name="T63" fmla="*/ 566 h 644"/>
              <a:gd name="T64" fmla="*/ 515 w 859"/>
              <a:gd name="T65" fmla="*/ 537 h 644"/>
              <a:gd name="T66" fmla="*/ 752 w 859"/>
              <a:gd name="T67" fmla="*/ 537 h 644"/>
              <a:gd name="T68" fmla="*/ 71 w 859"/>
              <a:gd name="T69" fmla="*/ 573 h 644"/>
              <a:gd name="T70" fmla="*/ 71 w 859"/>
              <a:gd name="T71" fmla="*/ 107 h 644"/>
              <a:gd name="T72" fmla="*/ 0 w 859"/>
              <a:gd name="T73" fmla="*/ 107 h 644"/>
              <a:gd name="T74" fmla="*/ 0 w 859"/>
              <a:gd name="T75" fmla="*/ 644 h 644"/>
              <a:gd name="T76" fmla="*/ 394 w 859"/>
              <a:gd name="T77" fmla="*/ 644 h 644"/>
              <a:gd name="T78" fmla="*/ 322 w 859"/>
              <a:gd name="T79" fmla="*/ 573 h 644"/>
              <a:gd name="T80" fmla="*/ 71 w 859"/>
              <a:gd name="T81" fmla="*/ 573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9" h="644">
                <a:moveTo>
                  <a:pt x="787" y="107"/>
                </a:moveTo>
                <a:lnTo>
                  <a:pt x="787" y="573"/>
                </a:lnTo>
                <a:lnTo>
                  <a:pt x="537" y="573"/>
                </a:lnTo>
                <a:lnTo>
                  <a:pt x="465" y="644"/>
                </a:lnTo>
                <a:lnTo>
                  <a:pt x="859" y="644"/>
                </a:lnTo>
                <a:lnTo>
                  <a:pt x="859" y="107"/>
                </a:lnTo>
                <a:lnTo>
                  <a:pt x="787" y="107"/>
                </a:lnTo>
                <a:close/>
                <a:moveTo>
                  <a:pt x="476" y="476"/>
                </a:moveTo>
                <a:cubicBezTo>
                  <a:pt x="450" y="501"/>
                  <a:pt x="409" y="501"/>
                  <a:pt x="383" y="476"/>
                </a:cubicBezTo>
                <a:lnTo>
                  <a:pt x="373" y="465"/>
                </a:lnTo>
                <a:lnTo>
                  <a:pt x="179" y="465"/>
                </a:lnTo>
                <a:lnTo>
                  <a:pt x="179" y="71"/>
                </a:lnTo>
                <a:lnTo>
                  <a:pt x="344" y="71"/>
                </a:lnTo>
                <a:cubicBezTo>
                  <a:pt x="359" y="71"/>
                  <a:pt x="393" y="91"/>
                  <a:pt x="393" y="96"/>
                </a:cubicBezTo>
                <a:lnTo>
                  <a:pt x="393" y="358"/>
                </a:lnTo>
                <a:lnTo>
                  <a:pt x="465" y="358"/>
                </a:lnTo>
                <a:lnTo>
                  <a:pt x="465" y="96"/>
                </a:lnTo>
                <a:cubicBezTo>
                  <a:pt x="465" y="91"/>
                  <a:pt x="500" y="71"/>
                  <a:pt x="515" y="71"/>
                </a:cubicBezTo>
                <a:lnTo>
                  <a:pt x="680" y="71"/>
                </a:lnTo>
                <a:lnTo>
                  <a:pt x="680" y="465"/>
                </a:lnTo>
                <a:lnTo>
                  <a:pt x="486" y="465"/>
                </a:lnTo>
                <a:lnTo>
                  <a:pt x="476" y="476"/>
                </a:lnTo>
                <a:close/>
                <a:moveTo>
                  <a:pt x="752" y="537"/>
                </a:moveTo>
                <a:lnTo>
                  <a:pt x="752" y="0"/>
                </a:lnTo>
                <a:lnTo>
                  <a:pt x="486" y="0"/>
                </a:lnTo>
                <a:lnTo>
                  <a:pt x="476" y="10"/>
                </a:lnTo>
                <a:cubicBezTo>
                  <a:pt x="450" y="36"/>
                  <a:pt x="409" y="36"/>
                  <a:pt x="383" y="10"/>
                </a:cubicBezTo>
                <a:lnTo>
                  <a:pt x="373" y="0"/>
                </a:lnTo>
                <a:lnTo>
                  <a:pt x="107" y="0"/>
                </a:lnTo>
                <a:lnTo>
                  <a:pt x="107" y="537"/>
                </a:lnTo>
                <a:lnTo>
                  <a:pt x="344" y="537"/>
                </a:lnTo>
                <a:cubicBezTo>
                  <a:pt x="369" y="573"/>
                  <a:pt x="399" y="566"/>
                  <a:pt x="429" y="566"/>
                </a:cubicBezTo>
                <a:cubicBezTo>
                  <a:pt x="460" y="566"/>
                  <a:pt x="490" y="573"/>
                  <a:pt x="515" y="537"/>
                </a:cubicBezTo>
                <a:lnTo>
                  <a:pt x="752" y="537"/>
                </a:lnTo>
                <a:close/>
                <a:moveTo>
                  <a:pt x="71" y="573"/>
                </a:moveTo>
                <a:lnTo>
                  <a:pt x="71" y="107"/>
                </a:lnTo>
                <a:lnTo>
                  <a:pt x="0" y="107"/>
                </a:lnTo>
                <a:lnTo>
                  <a:pt x="0" y="644"/>
                </a:lnTo>
                <a:lnTo>
                  <a:pt x="394" y="644"/>
                </a:lnTo>
                <a:lnTo>
                  <a:pt x="322" y="573"/>
                </a:lnTo>
                <a:lnTo>
                  <a:pt x="71" y="5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0"/>
          <p:cNvSpPr>
            <a:spLocks noEditPoints="1"/>
          </p:cNvSpPr>
          <p:nvPr/>
        </p:nvSpPr>
        <p:spPr bwMode="auto">
          <a:xfrm>
            <a:off x="11601728" y="1744503"/>
            <a:ext cx="360248" cy="301287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8" name="Freeform 41"/>
          <p:cNvSpPr>
            <a:spLocks/>
          </p:cNvSpPr>
          <p:nvPr/>
        </p:nvSpPr>
        <p:spPr bwMode="auto">
          <a:xfrm>
            <a:off x="11600809" y="4756459"/>
            <a:ext cx="362085" cy="315984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69" name="Группа 68"/>
          <p:cNvGrpSpPr/>
          <p:nvPr/>
        </p:nvGrpSpPr>
        <p:grpSpPr>
          <a:xfrm>
            <a:off x="11614594" y="200960"/>
            <a:ext cx="334516" cy="361915"/>
            <a:chOff x="477468" y="2705515"/>
            <a:chExt cx="409903" cy="443477"/>
          </a:xfrm>
        </p:grpSpPr>
        <p:sp>
          <p:nvSpPr>
            <p:cNvPr id="70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1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72" name="Freeform 44"/>
          <p:cNvSpPr>
            <a:spLocks noEditPoints="1"/>
          </p:cNvSpPr>
          <p:nvPr/>
        </p:nvSpPr>
        <p:spPr bwMode="auto">
          <a:xfrm>
            <a:off x="11606322" y="5464056"/>
            <a:ext cx="351059" cy="380284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3" name="Freeform 45"/>
          <p:cNvSpPr>
            <a:spLocks noEditPoints="1"/>
          </p:cNvSpPr>
          <p:nvPr/>
        </p:nvSpPr>
        <p:spPr bwMode="auto">
          <a:xfrm>
            <a:off x="11601728" y="966788"/>
            <a:ext cx="360248" cy="347216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89" name="Freeform 46"/>
          <p:cNvSpPr>
            <a:spLocks noEditPoints="1"/>
          </p:cNvSpPr>
          <p:nvPr/>
        </p:nvSpPr>
        <p:spPr bwMode="auto">
          <a:xfrm>
            <a:off x="11655949" y="3977824"/>
            <a:ext cx="251807" cy="363751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5" name="Freeform 52"/>
          <p:cNvSpPr>
            <a:spLocks noEditPoints="1"/>
          </p:cNvSpPr>
          <p:nvPr/>
        </p:nvSpPr>
        <p:spPr bwMode="auto">
          <a:xfrm>
            <a:off x="11605404" y="3223075"/>
            <a:ext cx="352896" cy="36375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Freeform 53"/>
          <p:cNvSpPr>
            <a:spLocks noEditPoints="1"/>
          </p:cNvSpPr>
          <p:nvPr/>
        </p:nvSpPr>
        <p:spPr bwMode="auto">
          <a:xfrm>
            <a:off x="11594376" y="6260448"/>
            <a:ext cx="374952" cy="327005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115" name="AutoShape 4"/>
          <p:cNvSpPr>
            <a:spLocks noChangeAspect="1" noChangeArrowheads="1" noTextEdit="1"/>
          </p:cNvSpPr>
          <p:nvPr/>
        </p:nvSpPr>
        <p:spPr bwMode="auto">
          <a:xfrm>
            <a:off x="5844301" y="1808388"/>
            <a:ext cx="918665" cy="317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79" name="Группа 78"/>
          <p:cNvGrpSpPr/>
          <p:nvPr/>
        </p:nvGrpSpPr>
        <p:grpSpPr>
          <a:xfrm>
            <a:off x="105665" y="49921"/>
            <a:ext cx="1268960" cy="438775"/>
            <a:chOff x="254665" y="195486"/>
            <a:chExt cx="951720" cy="329081"/>
          </a:xfrm>
        </p:grpSpPr>
        <p:sp>
          <p:nvSpPr>
            <p:cNvPr id="80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3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4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5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6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7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8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0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1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2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3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4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494785"/>
            <a:ext cx="4421068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7" name="Picture 4" descr="Изображение Сборник задач и упражнений по географии. 8-11 классы. Часть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3045" y="1125394"/>
            <a:ext cx="2427067" cy="323217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2" descr="Изображение Сборник задач и упражнений по географии. 8-11 классы. Часть 1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817" y="1159973"/>
            <a:ext cx="2367352" cy="316798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Прямоугольник 50"/>
          <p:cNvSpPr/>
          <p:nvPr/>
        </p:nvSpPr>
        <p:spPr>
          <a:xfrm>
            <a:off x="3429635" y="70931"/>
            <a:ext cx="463492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>
                <a:solidFill>
                  <a:srgbClr val="002060"/>
                </a:solidFill>
              </a:rPr>
              <a:t>СБОРНИК ЗАДАЧ И УПРАЖНЕНИЙ</a:t>
            </a:r>
          </a:p>
        </p:txBody>
      </p:sp>
      <p:pic>
        <p:nvPicPr>
          <p:cNvPr id="53" name="Picture 6" descr="http://qrcoder.ru/code/?http%3A%2F%2Fshop.prosv.ru%2Fsbornikzadachiuprazhnenij-po-geografii8-11-klassy-chast2%3Futm_source%3Dprez%26utm_medium%3Dqr%26utm_campaign%3Dgeograf&amp;10&amp;0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813" y="4764737"/>
            <a:ext cx="1778844" cy="17788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4" name="Прямоугольник 53"/>
          <p:cNvSpPr/>
          <p:nvPr/>
        </p:nvSpPr>
        <p:spPr>
          <a:xfrm>
            <a:off x="1890680" y="4422063"/>
            <a:ext cx="182473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i="1" dirty="0"/>
              <a:t>Автор</a:t>
            </a:r>
            <a:r>
              <a:rPr lang="ru-RU" sz="1400" dirty="0"/>
              <a:t> И.С. </a:t>
            </a:r>
            <a:r>
              <a:rPr lang="ru-RU" sz="1400" dirty="0" err="1"/>
              <a:t>Колечкин</a:t>
            </a:r>
            <a:endParaRPr lang="ru-RU" sz="1400" dirty="0"/>
          </a:p>
        </p:txBody>
      </p:sp>
      <p:cxnSp>
        <p:nvCxnSpPr>
          <p:cNvPr id="55" name="Прямая соединительная линия 54"/>
          <p:cNvCxnSpPr/>
          <p:nvPr/>
        </p:nvCxnSpPr>
        <p:spPr>
          <a:xfrm>
            <a:off x="1447060" y="459444"/>
            <a:ext cx="9905058" cy="28068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56"/>
          <p:cNvSpPr txBox="1"/>
          <p:nvPr/>
        </p:nvSpPr>
        <p:spPr>
          <a:xfrm>
            <a:off x="5460761" y="1968025"/>
            <a:ext cx="5729287" cy="24622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dirty="0"/>
              <a:t>Системная реализация </a:t>
            </a:r>
            <a:r>
              <a:rPr lang="ru-RU" dirty="0" err="1"/>
              <a:t>межпредметных</a:t>
            </a:r>
            <a:r>
              <a:rPr lang="ru-RU" dirty="0"/>
              <a:t> связей в формировании общей картины мира у школьников на всех этапах обучения.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dirty="0"/>
              <a:t>Разнообразные тренировочные и проверочные задания и упражнения для текущего и итогового контроля знаний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dirty="0"/>
              <a:t>Инструмент эффективной подготовки к ЕГЭ и ВПР по географии, а также географическим олимпиадам.</a:t>
            </a:r>
          </a:p>
        </p:txBody>
      </p:sp>
    </p:spTree>
    <p:extLst>
      <p:ext uri="{BB962C8B-B14F-4D97-AF65-F5344CB8AC3E}">
        <p14:creationId xmlns:p14="http://schemas.microsoft.com/office/powerpoint/2010/main" val="355086554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65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xmlns="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11375669" y="2257824"/>
            <a:ext cx="812363" cy="754751"/>
          </a:xfrm>
          <a:prstGeom prst="rect">
            <a:avLst/>
          </a:prstGeom>
          <a:solidFill>
            <a:srgbClr val="40D4E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3"/>
          <p:cNvSpPr>
            <a:spLocks noChangeArrowheads="1"/>
          </p:cNvSpPr>
          <p:nvPr/>
        </p:nvSpPr>
        <p:spPr bwMode="auto">
          <a:xfrm>
            <a:off x="11375669" y="5276823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4"/>
          <p:cNvSpPr>
            <a:spLocks noChangeArrowheads="1"/>
          </p:cNvSpPr>
          <p:nvPr/>
        </p:nvSpPr>
        <p:spPr bwMode="auto">
          <a:xfrm>
            <a:off x="11376586" y="4522072"/>
            <a:ext cx="812363" cy="754751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17"/>
          <p:cNvSpPr>
            <a:spLocks noChangeArrowheads="1"/>
          </p:cNvSpPr>
          <p:nvPr/>
        </p:nvSpPr>
        <p:spPr bwMode="auto">
          <a:xfrm>
            <a:off x="11375670" y="-4589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19"/>
          <p:cNvSpPr>
            <a:spLocks noChangeArrowheads="1"/>
          </p:cNvSpPr>
          <p:nvPr/>
        </p:nvSpPr>
        <p:spPr bwMode="auto">
          <a:xfrm>
            <a:off x="11376586" y="3012572"/>
            <a:ext cx="812363" cy="754751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1"/>
          <p:cNvSpPr>
            <a:spLocks noChangeArrowheads="1"/>
          </p:cNvSpPr>
          <p:nvPr/>
        </p:nvSpPr>
        <p:spPr bwMode="auto">
          <a:xfrm>
            <a:off x="11376586" y="6031572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2"/>
          <p:cNvSpPr>
            <a:spLocks noChangeArrowheads="1"/>
          </p:cNvSpPr>
          <p:nvPr/>
        </p:nvSpPr>
        <p:spPr bwMode="auto">
          <a:xfrm>
            <a:off x="11375670" y="1502768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2" name="Rectangle 25"/>
          <p:cNvSpPr>
            <a:spLocks noChangeArrowheads="1"/>
          </p:cNvSpPr>
          <p:nvPr/>
        </p:nvSpPr>
        <p:spPr bwMode="auto">
          <a:xfrm>
            <a:off x="11376586" y="3767322"/>
            <a:ext cx="812363" cy="754751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29"/>
          <p:cNvSpPr>
            <a:spLocks noChangeArrowheads="1"/>
          </p:cNvSpPr>
          <p:nvPr/>
        </p:nvSpPr>
        <p:spPr bwMode="auto">
          <a:xfrm>
            <a:off x="11375670" y="748019"/>
            <a:ext cx="812363" cy="754751"/>
          </a:xfrm>
          <a:prstGeom prst="rect">
            <a:avLst/>
          </a:prstGeom>
          <a:solidFill>
            <a:srgbClr val="9ED44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2"/>
          <p:cNvSpPr>
            <a:spLocks noEditPoints="1"/>
          </p:cNvSpPr>
          <p:nvPr/>
        </p:nvSpPr>
        <p:spPr bwMode="auto">
          <a:xfrm>
            <a:off x="11600809" y="2514255"/>
            <a:ext cx="362085" cy="271895"/>
          </a:xfrm>
          <a:custGeom>
            <a:avLst/>
            <a:gdLst>
              <a:gd name="T0" fmla="*/ 787 w 859"/>
              <a:gd name="T1" fmla="*/ 107 h 644"/>
              <a:gd name="T2" fmla="*/ 787 w 859"/>
              <a:gd name="T3" fmla="*/ 573 h 644"/>
              <a:gd name="T4" fmla="*/ 537 w 859"/>
              <a:gd name="T5" fmla="*/ 573 h 644"/>
              <a:gd name="T6" fmla="*/ 465 w 859"/>
              <a:gd name="T7" fmla="*/ 644 h 644"/>
              <a:gd name="T8" fmla="*/ 859 w 859"/>
              <a:gd name="T9" fmla="*/ 644 h 644"/>
              <a:gd name="T10" fmla="*/ 859 w 859"/>
              <a:gd name="T11" fmla="*/ 107 h 644"/>
              <a:gd name="T12" fmla="*/ 787 w 859"/>
              <a:gd name="T13" fmla="*/ 107 h 644"/>
              <a:gd name="T14" fmla="*/ 476 w 859"/>
              <a:gd name="T15" fmla="*/ 476 h 644"/>
              <a:gd name="T16" fmla="*/ 383 w 859"/>
              <a:gd name="T17" fmla="*/ 476 h 644"/>
              <a:gd name="T18" fmla="*/ 373 w 859"/>
              <a:gd name="T19" fmla="*/ 465 h 644"/>
              <a:gd name="T20" fmla="*/ 179 w 859"/>
              <a:gd name="T21" fmla="*/ 465 h 644"/>
              <a:gd name="T22" fmla="*/ 179 w 859"/>
              <a:gd name="T23" fmla="*/ 71 h 644"/>
              <a:gd name="T24" fmla="*/ 344 w 859"/>
              <a:gd name="T25" fmla="*/ 71 h 644"/>
              <a:gd name="T26" fmla="*/ 393 w 859"/>
              <a:gd name="T27" fmla="*/ 96 h 644"/>
              <a:gd name="T28" fmla="*/ 393 w 859"/>
              <a:gd name="T29" fmla="*/ 358 h 644"/>
              <a:gd name="T30" fmla="*/ 465 w 859"/>
              <a:gd name="T31" fmla="*/ 358 h 644"/>
              <a:gd name="T32" fmla="*/ 465 w 859"/>
              <a:gd name="T33" fmla="*/ 96 h 644"/>
              <a:gd name="T34" fmla="*/ 515 w 859"/>
              <a:gd name="T35" fmla="*/ 71 h 644"/>
              <a:gd name="T36" fmla="*/ 680 w 859"/>
              <a:gd name="T37" fmla="*/ 71 h 644"/>
              <a:gd name="T38" fmla="*/ 680 w 859"/>
              <a:gd name="T39" fmla="*/ 465 h 644"/>
              <a:gd name="T40" fmla="*/ 486 w 859"/>
              <a:gd name="T41" fmla="*/ 465 h 644"/>
              <a:gd name="T42" fmla="*/ 476 w 859"/>
              <a:gd name="T43" fmla="*/ 476 h 644"/>
              <a:gd name="T44" fmla="*/ 752 w 859"/>
              <a:gd name="T45" fmla="*/ 537 h 644"/>
              <a:gd name="T46" fmla="*/ 752 w 859"/>
              <a:gd name="T47" fmla="*/ 0 h 644"/>
              <a:gd name="T48" fmla="*/ 486 w 859"/>
              <a:gd name="T49" fmla="*/ 0 h 644"/>
              <a:gd name="T50" fmla="*/ 476 w 859"/>
              <a:gd name="T51" fmla="*/ 10 h 644"/>
              <a:gd name="T52" fmla="*/ 383 w 859"/>
              <a:gd name="T53" fmla="*/ 10 h 644"/>
              <a:gd name="T54" fmla="*/ 373 w 859"/>
              <a:gd name="T55" fmla="*/ 0 h 644"/>
              <a:gd name="T56" fmla="*/ 107 w 859"/>
              <a:gd name="T57" fmla="*/ 0 h 644"/>
              <a:gd name="T58" fmla="*/ 107 w 859"/>
              <a:gd name="T59" fmla="*/ 537 h 644"/>
              <a:gd name="T60" fmla="*/ 344 w 859"/>
              <a:gd name="T61" fmla="*/ 537 h 644"/>
              <a:gd name="T62" fmla="*/ 429 w 859"/>
              <a:gd name="T63" fmla="*/ 566 h 644"/>
              <a:gd name="T64" fmla="*/ 515 w 859"/>
              <a:gd name="T65" fmla="*/ 537 h 644"/>
              <a:gd name="T66" fmla="*/ 752 w 859"/>
              <a:gd name="T67" fmla="*/ 537 h 644"/>
              <a:gd name="T68" fmla="*/ 71 w 859"/>
              <a:gd name="T69" fmla="*/ 573 h 644"/>
              <a:gd name="T70" fmla="*/ 71 w 859"/>
              <a:gd name="T71" fmla="*/ 107 h 644"/>
              <a:gd name="T72" fmla="*/ 0 w 859"/>
              <a:gd name="T73" fmla="*/ 107 h 644"/>
              <a:gd name="T74" fmla="*/ 0 w 859"/>
              <a:gd name="T75" fmla="*/ 644 h 644"/>
              <a:gd name="T76" fmla="*/ 394 w 859"/>
              <a:gd name="T77" fmla="*/ 644 h 644"/>
              <a:gd name="T78" fmla="*/ 322 w 859"/>
              <a:gd name="T79" fmla="*/ 573 h 644"/>
              <a:gd name="T80" fmla="*/ 71 w 859"/>
              <a:gd name="T81" fmla="*/ 573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9" h="644">
                <a:moveTo>
                  <a:pt x="787" y="107"/>
                </a:moveTo>
                <a:lnTo>
                  <a:pt x="787" y="573"/>
                </a:lnTo>
                <a:lnTo>
                  <a:pt x="537" y="573"/>
                </a:lnTo>
                <a:lnTo>
                  <a:pt x="465" y="644"/>
                </a:lnTo>
                <a:lnTo>
                  <a:pt x="859" y="644"/>
                </a:lnTo>
                <a:lnTo>
                  <a:pt x="859" y="107"/>
                </a:lnTo>
                <a:lnTo>
                  <a:pt x="787" y="107"/>
                </a:lnTo>
                <a:close/>
                <a:moveTo>
                  <a:pt x="476" y="476"/>
                </a:moveTo>
                <a:cubicBezTo>
                  <a:pt x="450" y="501"/>
                  <a:pt x="409" y="501"/>
                  <a:pt x="383" y="476"/>
                </a:cubicBezTo>
                <a:lnTo>
                  <a:pt x="373" y="465"/>
                </a:lnTo>
                <a:lnTo>
                  <a:pt x="179" y="465"/>
                </a:lnTo>
                <a:lnTo>
                  <a:pt x="179" y="71"/>
                </a:lnTo>
                <a:lnTo>
                  <a:pt x="344" y="71"/>
                </a:lnTo>
                <a:cubicBezTo>
                  <a:pt x="359" y="71"/>
                  <a:pt x="393" y="91"/>
                  <a:pt x="393" y="96"/>
                </a:cubicBezTo>
                <a:lnTo>
                  <a:pt x="393" y="358"/>
                </a:lnTo>
                <a:lnTo>
                  <a:pt x="465" y="358"/>
                </a:lnTo>
                <a:lnTo>
                  <a:pt x="465" y="96"/>
                </a:lnTo>
                <a:cubicBezTo>
                  <a:pt x="465" y="91"/>
                  <a:pt x="500" y="71"/>
                  <a:pt x="515" y="71"/>
                </a:cubicBezTo>
                <a:lnTo>
                  <a:pt x="680" y="71"/>
                </a:lnTo>
                <a:lnTo>
                  <a:pt x="680" y="465"/>
                </a:lnTo>
                <a:lnTo>
                  <a:pt x="486" y="465"/>
                </a:lnTo>
                <a:lnTo>
                  <a:pt x="476" y="476"/>
                </a:lnTo>
                <a:close/>
                <a:moveTo>
                  <a:pt x="752" y="537"/>
                </a:moveTo>
                <a:lnTo>
                  <a:pt x="752" y="0"/>
                </a:lnTo>
                <a:lnTo>
                  <a:pt x="486" y="0"/>
                </a:lnTo>
                <a:lnTo>
                  <a:pt x="476" y="10"/>
                </a:lnTo>
                <a:cubicBezTo>
                  <a:pt x="450" y="36"/>
                  <a:pt x="409" y="36"/>
                  <a:pt x="383" y="10"/>
                </a:cubicBezTo>
                <a:lnTo>
                  <a:pt x="373" y="0"/>
                </a:lnTo>
                <a:lnTo>
                  <a:pt x="107" y="0"/>
                </a:lnTo>
                <a:lnTo>
                  <a:pt x="107" y="537"/>
                </a:lnTo>
                <a:lnTo>
                  <a:pt x="344" y="537"/>
                </a:lnTo>
                <a:cubicBezTo>
                  <a:pt x="369" y="573"/>
                  <a:pt x="399" y="566"/>
                  <a:pt x="429" y="566"/>
                </a:cubicBezTo>
                <a:cubicBezTo>
                  <a:pt x="460" y="566"/>
                  <a:pt x="490" y="573"/>
                  <a:pt x="515" y="537"/>
                </a:cubicBezTo>
                <a:lnTo>
                  <a:pt x="752" y="537"/>
                </a:lnTo>
                <a:close/>
                <a:moveTo>
                  <a:pt x="71" y="573"/>
                </a:moveTo>
                <a:lnTo>
                  <a:pt x="71" y="107"/>
                </a:lnTo>
                <a:lnTo>
                  <a:pt x="0" y="107"/>
                </a:lnTo>
                <a:lnTo>
                  <a:pt x="0" y="644"/>
                </a:lnTo>
                <a:lnTo>
                  <a:pt x="394" y="644"/>
                </a:lnTo>
                <a:lnTo>
                  <a:pt x="322" y="573"/>
                </a:lnTo>
                <a:lnTo>
                  <a:pt x="71" y="5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0"/>
          <p:cNvSpPr>
            <a:spLocks noEditPoints="1"/>
          </p:cNvSpPr>
          <p:nvPr/>
        </p:nvSpPr>
        <p:spPr bwMode="auto">
          <a:xfrm>
            <a:off x="11601728" y="1744503"/>
            <a:ext cx="360248" cy="301287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8" name="Freeform 41"/>
          <p:cNvSpPr>
            <a:spLocks/>
          </p:cNvSpPr>
          <p:nvPr/>
        </p:nvSpPr>
        <p:spPr bwMode="auto">
          <a:xfrm>
            <a:off x="11600809" y="4756459"/>
            <a:ext cx="362085" cy="315984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69" name="Группа 68"/>
          <p:cNvGrpSpPr/>
          <p:nvPr/>
        </p:nvGrpSpPr>
        <p:grpSpPr>
          <a:xfrm>
            <a:off x="11614594" y="200960"/>
            <a:ext cx="334516" cy="361915"/>
            <a:chOff x="477468" y="2705515"/>
            <a:chExt cx="409903" cy="443477"/>
          </a:xfrm>
        </p:grpSpPr>
        <p:sp>
          <p:nvSpPr>
            <p:cNvPr id="70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1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72" name="Freeform 44"/>
          <p:cNvSpPr>
            <a:spLocks noEditPoints="1"/>
          </p:cNvSpPr>
          <p:nvPr/>
        </p:nvSpPr>
        <p:spPr bwMode="auto">
          <a:xfrm>
            <a:off x="11606322" y="5464056"/>
            <a:ext cx="351059" cy="380284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3" name="Freeform 45"/>
          <p:cNvSpPr>
            <a:spLocks noEditPoints="1"/>
          </p:cNvSpPr>
          <p:nvPr/>
        </p:nvSpPr>
        <p:spPr bwMode="auto">
          <a:xfrm>
            <a:off x="11601728" y="966788"/>
            <a:ext cx="360248" cy="347216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89" name="Freeform 46"/>
          <p:cNvSpPr>
            <a:spLocks noEditPoints="1"/>
          </p:cNvSpPr>
          <p:nvPr/>
        </p:nvSpPr>
        <p:spPr bwMode="auto">
          <a:xfrm>
            <a:off x="11655949" y="3977824"/>
            <a:ext cx="251807" cy="363751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5" name="Freeform 52"/>
          <p:cNvSpPr>
            <a:spLocks noEditPoints="1"/>
          </p:cNvSpPr>
          <p:nvPr/>
        </p:nvSpPr>
        <p:spPr bwMode="auto">
          <a:xfrm>
            <a:off x="11605404" y="3223075"/>
            <a:ext cx="352896" cy="36375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Freeform 53"/>
          <p:cNvSpPr>
            <a:spLocks noEditPoints="1"/>
          </p:cNvSpPr>
          <p:nvPr/>
        </p:nvSpPr>
        <p:spPr bwMode="auto">
          <a:xfrm>
            <a:off x="11594376" y="6260448"/>
            <a:ext cx="374952" cy="327005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115" name="AutoShape 4"/>
          <p:cNvSpPr>
            <a:spLocks noChangeAspect="1" noChangeArrowheads="1" noTextEdit="1"/>
          </p:cNvSpPr>
          <p:nvPr/>
        </p:nvSpPr>
        <p:spPr bwMode="auto">
          <a:xfrm>
            <a:off x="5844301" y="1808388"/>
            <a:ext cx="918665" cy="317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79" name="Группа 78"/>
          <p:cNvGrpSpPr/>
          <p:nvPr/>
        </p:nvGrpSpPr>
        <p:grpSpPr>
          <a:xfrm>
            <a:off x="105665" y="49921"/>
            <a:ext cx="1268960" cy="438775"/>
            <a:chOff x="254665" y="195486"/>
            <a:chExt cx="951720" cy="329081"/>
          </a:xfrm>
        </p:grpSpPr>
        <p:sp>
          <p:nvSpPr>
            <p:cNvPr id="80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3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4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5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6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7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8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0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1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2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3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4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494785"/>
            <a:ext cx="4421068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5" name="Picture 2" descr="Изображение В помощь выпускнику. ОГЭ. География. Справочник с комментариями ведущих экспертов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133" y="1211679"/>
            <a:ext cx="2698065" cy="3601786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Заголовок 1"/>
          <p:cNvSpPr>
            <a:spLocks noGrp="1"/>
          </p:cNvSpPr>
          <p:nvPr>
            <p:ph type="title"/>
          </p:nvPr>
        </p:nvSpPr>
        <p:spPr>
          <a:xfrm>
            <a:off x="1871893" y="135123"/>
            <a:ext cx="9421070" cy="648642"/>
          </a:xfrm>
        </p:spPr>
        <p:txBody>
          <a:bodyPr>
            <a:noAutofit/>
          </a:bodyPr>
          <a:lstStyle/>
          <a:p>
            <a:pPr algn="ctr"/>
            <a:r>
              <a:rPr lang="ru-RU" sz="2400" b="1" dirty="0">
                <a:solidFill>
                  <a:srgbClr val="002060"/>
                </a:solidFill>
                <a:latin typeface="+mn-lt"/>
              </a:rPr>
              <a:t>В ПОМОЩЬ ВЫПУСКНИКУ. ОГЭ. ГЕОГРАФИЯ. </a:t>
            </a:r>
            <a:br>
              <a:rPr lang="ru-RU" sz="2400" b="1" dirty="0">
                <a:solidFill>
                  <a:srgbClr val="002060"/>
                </a:solidFill>
                <a:latin typeface="+mn-lt"/>
              </a:rPr>
            </a:br>
            <a:r>
              <a:rPr lang="ru-RU" sz="2400" b="1" dirty="0">
                <a:solidFill>
                  <a:srgbClr val="002060"/>
                </a:solidFill>
                <a:latin typeface="+mn-lt"/>
              </a:rPr>
              <a:t>СПРАВОЧНИК С КОММЕНТАРИЯМИ ВЕДУЩИХ ЭКСПЕРТОВ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4559055" y="1872861"/>
            <a:ext cx="6096000" cy="258532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333333"/>
                </a:solidFill>
              </a:rPr>
              <a:t>содержит чётко структурированный и компактно представленный теоретический материал, который охватывает все темы курса </a:t>
            </a:r>
            <a:r>
              <a:rPr lang="ru-RU" dirty="0" err="1">
                <a:solidFill>
                  <a:srgbClr val="333333"/>
                </a:solidFill>
              </a:rPr>
              <a:t>геогафии</a:t>
            </a:r>
            <a:r>
              <a:rPr lang="ru-RU" dirty="0">
                <a:solidFill>
                  <a:srgbClr val="333333"/>
                </a:solidFill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позволят эффективно повторить и восполнить знания школьной программы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/>
              <a:t>комментарии</a:t>
            </a:r>
            <a:r>
              <a:rPr lang="ru-RU" dirty="0"/>
              <a:t> ведущих экспертов-практиков помогут справиться со всеми возникающими затруднениями при решении экзаменационных заданий.</a:t>
            </a:r>
          </a:p>
          <a:p>
            <a:endParaRPr lang="ru-RU" dirty="0"/>
          </a:p>
        </p:txBody>
      </p:sp>
      <p:cxnSp>
        <p:nvCxnSpPr>
          <p:cNvPr id="51" name="Прямая соединительная линия 50"/>
          <p:cNvCxnSpPr/>
          <p:nvPr/>
        </p:nvCxnSpPr>
        <p:spPr>
          <a:xfrm>
            <a:off x="1447060" y="459444"/>
            <a:ext cx="9905058" cy="28068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0168608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42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xmlns="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11375669" y="2257824"/>
            <a:ext cx="812363" cy="754751"/>
          </a:xfrm>
          <a:prstGeom prst="rect">
            <a:avLst/>
          </a:prstGeom>
          <a:solidFill>
            <a:srgbClr val="40D4E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3"/>
          <p:cNvSpPr>
            <a:spLocks noChangeArrowheads="1"/>
          </p:cNvSpPr>
          <p:nvPr/>
        </p:nvSpPr>
        <p:spPr bwMode="auto">
          <a:xfrm>
            <a:off x="11375669" y="5276823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4"/>
          <p:cNvSpPr>
            <a:spLocks noChangeArrowheads="1"/>
          </p:cNvSpPr>
          <p:nvPr/>
        </p:nvSpPr>
        <p:spPr bwMode="auto">
          <a:xfrm>
            <a:off x="11376586" y="4522072"/>
            <a:ext cx="812363" cy="754751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17"/>
          <p:cNvSpPr>
            <a:spLocks noChangeArrowheads="1"/>
          </p:cNvSpPr>
          <p:nvPr/>
        </p:nvSpPr>
        <p:spPr bwMode="auto">
          <a:xfrm>
            <a:off x="11375670" y="-4589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19"/>
          <p:cNvSpPr>
            <a:spLocks noChangeArrowheads="1"/>
          </p:cNvSpPr>
          <p:nvPr/>
        </p:nvSpPr>
        <p:spPr bwMode="auto">
          <a:xfrm>
            <a:off x="11376586" y="3012572"/>
            <a:ext cx="812363" cy="754751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1"/>
          <p:cNvSpPr>
            <a:spLocks noChangeArrowheads="1"/>
          </p:cNvSpPr>
          <p:nvPr/>
        </p:nvSpPr>
        <p:spPr bwMode="auto">
          <a:xfrm>
            <a:off x="11376586" y="6031572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2"/>
          <p:cNvSpPr>
            <a:spLocks noChangeArrowheads="1"/>
          </p:cNvSpPr>
          <p:nvPr/>
        </p:nvSpPr>
        <p:spPr bwMode="auto">
          <a:xfrm>
            <a:off x="11375670" y="1502768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2" name="Rectangle 25"/>
          <p:cNvSpPr>
            <a:spLocks noChangeArrowheads="1"/>
          </p:cNvSpPr>
          <p:nvPr/>
        </p:nvSpPr>
        <p:spPr bwMode="auto">
          <a:xfrm>
            <a:off x="11376586" y="3767322"/>
            <a:ext cx="812363" cy="754751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29"/>
          <p:cNvSpPr>
            <a:spLocks noChangeArrowheads="1"/>
          </p:cNvSpPr>
          <p:nvPr/>
        </p:nvSpPr>
        <p:spPr bwMode="auto">
          <a:xfrm>
            <a:off x="11375670" y="748019"/>
            <a:ext cx="812363" cy="754751"/>
          </a:xfrm>
          <a:prstGeom prst="rect">
            <a:avLst/>
          </a:prstGeom>
          <a:solidFill>
            <a:srgbClr val="9ED44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2"/>
          <p:cNvSpPr>
            <a:spLocks noEditPoints="1"/>
          </p:cNvSpPr>
          <p:nvPr/>
        </p:nvSpPr>
        <p:spPr bwMode="auto">
          <a:xfrm>
            <a:off x="11600809" y="2514255"/>
            <a:ext cx="362085" cy="271895"/>
          </a:xfrm>
          <a:custGeom>
            <a:avLst/>
            <a:gdLst>
              <a:gd name="T0" fmla="*/ 787 w 859"/>
              <a:gd name="T1" fmla="*/ 107 h 644"/>
              <a:gd name="T2" fmla="*/ 787 w 859"/>
              <a:gd name="T3" fmla="*/ 573 h 644"/>
              <a:gd name="T4" fmla="*/ 537 w 859"/>
              <a:gd name="T5" fmla="*/ 573 h 644"/>
              <a:gd name="T6" fmla="*/ 465 w 859"/>
              <a:gd name="T7" fmla="*/ 644 h 644"/>
              <a:gd name="T8" fmla="*/ 859 w 859"/>
              <a:gd name="T9" fmla="*/ 644 h 644"/>
              <a:gd name="T10" fmla="*/ 859 w 859"/>
              <a:gd name="T11" fmla="*/ 107 h 644"/>
              <a:gd name="T12" fmla="*/ 787 w 859"/>
              <a:gd name="T13" fmla="*/ 107 h 644"/>
              <a:gd name="T14" fmla="*/ 476 w 859"/>
              <a:gd name="T15" fmla="*/ 476 h 644"/>
              <a:gd name="T16" fmla="*/ 383 w 859"/>
              <a:gd name="T17" fmla="*/ 476 h 644"/>
              <a:gd name="T18" fmla="*/ 373 w 859"/>
              <a:gd name="T19" fmla="*/ 465 h 644"/>
              <a:gd name="T20" fmla="*/ 179 w 859"/>
              <a:gd name="T21" fmla="*/ 465 h 644"/>
              <a:gd name="T22" fmla="*/ 179 w 859"/>
              <a:gd name="T23" fmla="*/ 71 h 644"/>
              <a:gd name="T24" fmla="*/ 344 w 859"/>
              <a:gd name="T25" fmla="*/ 71 h 644"/>
              <a:gd name="T26" fmla="*/ 393 w 859"/>
              <a:gd name="T27" fmla="*/ 96 h 644"/>
              <a:gd name="T28" fmla="*/ 393 w 859"/>
              <a:gd name="T29" fmla="*/ 358 h 644"/>
              <a:gd name="T30" fmla="*/ 465 w 859"/>
              <a:gd name="T31" fmla="*/ 358 h 644"/>
              <a:gd name="T32" fmla="*/ 465 w 859"/>
              <a:gd name="T33" fmla="*/ 96 h 644"/>
              <a:gd name="T34" fmla="*/ 515 w 859"/>
              <a:gd name="T35" fmla="*/ 71 h 644"/>
              <a:gd name="T36" fmla="*/ 680 w 859"/>
              <a:gd name="T37" fmla="*/ 71 h 644"/>
              <a:gd name="T38" fmla="*/ 680 w 859"/>
              <a:gd name="T39" fmla="*/ 465 h 644"/>
              <a:gd name="T40" fmla="*/ 486 w 859"/>
              <a:gd name="T41" fmla="*/ 465 h 644"/>
              <a:gd name="T42" fmla="*/ 476 w 859"/>
              <a:gd name="T43" fmla="*/ 476 h 644"/>
              <a:gd name="T44" fmla="*/ 752 w 859"/>
              <a:gd name="T45" fmla="*/ 537 h 644"/>
              <a:gd name="T46" fmla="*/ 752 w 859"/>
              <a:gd name="T47" fmla="*/ 0 h 644"/>
              <a:gd name="T48" fmla="*/ 486 w 859"/>
              <a:gd name="T49" fmla="*/ 0 h 644"/>
              <a:gd name="T50" fmla="*/ 476 w 859"/>
              <a:gd name="T51" fmla="*/ 10 h 644"/>
              <a:gd name="T52" fmla="*/ 383 w 859"/>
              <a:gd name="T53" fmla="*/ 10 h 644"/>
              <a:gd name="T54" fmla="*/ 373 w 859"/>
              <a:gd name="T55" fmla="*/ 0 h 644"/>
              <a:gd name="T56" fmla="*/ 107 w 859"/>
              <a:gd name="T57" fmla="*/ 0 h 644"/>
              <a:gd name="T58" fmla="*/ 107 w 859"/>
              <a:gd name="T59" fmla="*/ 537 h 644"/>
              <a:gd name="T60" fmla="*/ 344 w 859"/>
              <a:gd name="T61" fmla="*/ 537 h 644"/>
              <a:gd name="T62" fmla="*/ 429 w 859"/>
              <a:gd name="T63" fmla="*/ 566 h 644"/>
              <a:gd name="T64" fmla="*/ 515 w 859"/>
              <a:gd name="T65" fmla="*/ 537 h 644"/>
              <a:gd name="T66" fmla="*/ 752 w 859"/>
              <a:gd name="T67" fmla="*/ 537 h 644"/>
              <a:gd name="T68" fmla="*/ 71 w 859"/>
              <a:gd name="T69" fmla="*/ 573 h 644"/>
              <a:gd name="T70" fmla="*/ 71 w 859"/>
              <a:gd name="T71" fmla="*/ 107 h 644"/>
              <a:gd name="T72" fmla="*/ 0 w 859"/>
              <a:gd name="T73" fmla="*/ 107 h 644"/>
              <a:gd name="T74" fmla="*/ 0 w 859"/>
              <a:gd name="T75" fmla="*/ 644 h 644"/>
              <a:gd name="T76" fmla="*/ 394 w 859"/>
              <a:gd name="T77" fmla="*/ 644 h 644"/>
              <a:gd name="T78" fmla="*/ 322 w 859"/>
              <a:gd name="T79" fmla="*/ 573 h 644"/>
              <a:gd name="T80" fmla="*/ 71 w 859"/>
              <a:gd name="T81" fmla="*/ 573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9" h="644">
                <a:moveTo>
                  <a:pt x="787" y="107"/>
                </a:moveTo>
                <a:lnTo>
                  <a:pt x="787" y="573"/>
                </a:lnTo>
                <a:lnTo>
                  <a:pt x="537" y="573"/>
                </a:lnTo>
                <a:lnTo>
                  <a:pt x="465" y="644"/>
                </a:lnTo>
                <a:lnTo>
                  <a:pt x="859" y="644"/>
                </a:lnTo>
                <a:lnTo>
                  <a:pt x="859" y="107"/>
                </a:lnTo>
                <a:lnTo>
                  <a:pt x="787" y="107"/>
                </a:lnTo>
                <a:close/>
                <a:moveTo>
                  <a:pt x="476" y="476"/>
                </a:moveTo>
                <a:cubicBezTo>
                  <a:pt x="450" y="501"/>
                  <a:pt x="409" y="501"/>
                  <a:pt x="383" y="476"/>
                </a:cubicBezTo>
                <a:lnTo>
                  <a:pt x="373" y="465"/>
                </a:lnTo>
                <a:lnTo>
                  <a:pt x="179" y="465"/>
                </a:lnTo>
                <a:lnTo>
                  <a:pt x="179" y="71"/>
                </a:lnTo>
                <a:lnTo>
                  <a:pt x="344" y="71"/>
                </a:lnTo>
                <a:cubicBezTo>
                  <a:pt x="359" y="71"/>
                  <a:pt x="393" y="91"/>
                  <a:pt x="393" y="96"/>
                </a:cubicBezTo>
                <a:lnTo>
                  <a:pt x="393" y="358"/>
                </a:lnTo>
                <a:lnTo>
                  <a:pt x="465" y="358"/>
                </a:lnTo>
                <a:lnTo>
                  <a:pt x="465" y="96"/>
                </a:lnTo>
                <a:cubicBezTo>
                  <a:pt x="465" y="91"/>
                  <a:pt x="500" y="71"/>
                  <a:pt x="515" y="71"/>
                </a:cubicBezTo>
                <a:lnTo>
                  <a:pt x="680" y="71"/>
                </a:lnTo>
                <a:lnTo>
                  <a:pt x="680" y="465"/>
                </a:lnTo>
                <a:lnTo>
                  <a:pt x="486" y="465"/>
                </a:lnTo>
                <a:lnTo>
                  <a:pt x="476" y="476"/>
                </a:lnTo>
                <a:close/>
                <a:moveTo>
                  <a:pt x="752" y="537"/>
                </a:moveTo>
                <a:lnTo>
                  <a:pt x="752" y="0"/>
                </a:lnTo>
                <a:lnTo>
                  <a:pt x="486" y="0"/>
                </a:lnTo>
                <a:lnTo>
                  <a:pt x="476" y="10"/>
                </a:lnTo>
                <a:cubicBezTo>
                  <a:pt x="450" y="36"/>
                  <a:pt x="409" y="36"/>
                  <a:pt x="383" y="10"/>
                </a:cubicBezTo>
                <a:lnTo>
                  <a:pt x="373" y="0"/>
                </a:lnTo>
                <a:lnTo>
                  <a:pt x="107" y="0"/>
                </a:lnTo>
                <a:lnTo>
                  <a:pt x="107" y="537"/>
                </a:lnTo>
                <a:lnTo>
                  <a:pt x="344" y="537"/>
                </a:lnTo>
                <a:cubicBezTo>
                  <a:pt x="369" y="573"/>
                  <a:pt x="399" y="566"/>
                  <a:pt x="429" y="566"/>
                </a:cubicBezTo>
                <a:cubicBezTo>
                  <a:pt x="460" y="566"/>
                  <a:pt x="490" y="573"/>
                  <a:pt x="515" y="537"/>
                </a:cubicBezTo>
                <a:lnTo>
                  <a:pt x="752" y="537"/>
                </a:lnTo>
                <a:close/>
                <a:moveTo>
                  <a:pt x="71" y="573"/>
                </a:moveTo>
                <a:lnTo>
                  <a:pt x="71" y="107"/>
                </a:lnTo>
                <a:lnTo>
                  <a:pt x="0" y="107"/>
                </a:lnTo>
                <a:lnTo>
                  <a:pt x="0" y="644"/>
                </a:lnTo>
                <a:lnTo>
                  <a:pt x="394" y="644"/>
                </a:lnTo>
                <a:lnTo>
                  <a:pt x="322" y="573"/>
                </a:lnTo>
                <a:lnTo>
                  <a:pt x="71" y="5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0"/>
          <p:cNvSpPr>
            <a:spLocks noEditPoints="1"/>
          </p:cNvSpPr>
          <p:nvPr/>
        </p:nvSpPr>
        <p:spPr bwMode="auto">
          <a:xfrm>
            <a:off x="11601728" y="1744503"/>
            <a:ext cx="360248" cy="301287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8" name="Freeform 41"/>
          <p:cNvSpPr>
            <a:spLocks/>
          </p:cNvSpPr>
          <p:nvPr/>
        </p:nvSpPr>
        <p:spPr bwMode="auto">
          <a:xfrm>
            <a:off x="11600809" y="4756459"/>
            <a:ext cx="362085" cy="315984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69" name="Группа 68"/>
          <p:cNvGrpSpPr/>
          <p:nvPr/>
        </p:nvGrpSpPr>
        <p:grpSpPr>
          <a:xfrm>
            <a:off x="11614594" y="200960"/>
            <a:ext cx="334516" cy="361915"/>
            <a:chOff x="477468" y="2705515"/>
            <a:chExt cx="409903" cy="443477"/>
          </a:xfrm>
        </p:grpSpPr>
        <p:sp>
          <p:nvSpPr>
            <p:cNvPr id="70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1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72" name="Freeform 44"/>
          <p:cNvSpPr>
            <a:spLocks noEditPoints="1"/>
          </p:cNvSpPr>
          <p:nvPr/>
        </p:nvSpPr>
        <p:spPr bwMode="auto">
          <a:xfrm>
            <a:off x="11606322" y="5464056"/>
            <a:ext cx="351059" cy="380284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3" name="Freeform 45"/>
          <p:cNvSpPr>
            <a:spLocks noEditPoints="1"/>
          </p:cNvSpPr>
          <p:nvPr/>
        </p:nvSpPr>
        <p:spPr bwMode="auto">
          <a:xfrm>
            <a:off x="11601728" y="966788"/>
            <a:ext cx="360248" cy="347216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89" name="Freeform 46"/>
          <p:cNvSpPr>
            <a:spLocks noEditPoints="1"/>
          </p:cNvSpPr>
          <p:nvPr/>
        </p:nvSpPr>
        <p:spPr bwMode="auto">
          <a:xfrm>
            <a:off x="11655949" y="3977824"/>
            <a:ext cx="251807" cy="363751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5" name="Freeform 52"/>
          <p:cNvSpPr>
            <a:spLocks noEditPoints="1"/>
          </p:cNvSpPr>
          <p:nvPr/>
        </p:nvSpPr>
        <p:spPr bwMode="auto">
          <a:xfrm>
            <a:off x="11605404" y="3223075"/>
            <a:ext cx="352896" cy="36375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Freeform 53"/>
          <p:cNvSpPr>
            <a:spLocks noEditPoints="1"/>
          </p:cNvSpPr>
          <p:nvPr/>
        </p:nvSpPr>
        <p:spPr bwMode="auto">
          <a:xfrm>
            <a:off x="11594376" y="6260448"/>
            <a:ext cx="374952" cy="327005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115" name="AutoShape 4"/>
          <p:cNvSpPr>
            <a:spLocks noChangeAspect="1" noChangeArrowheads="1" noTextEdit="1"/>
          </p:cNvSpPr>
          <p:nvPr/>
        </p:nvSpPr>
        <p:spPr bwMode="auto">
          <a:xfrm>
            <a:off x="5844301" y="1808388"/>
            <a:ext cx="918665" cy="317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79" name="Группа 78"/>
          <p:cNvGrpSpPr/>
          <p:nvPr/>
        </p:nvGrpSpPr>
        <p:grpSpPr>
          <a:xfrm>
            <a:off x="105665" y="49921"/>
            <a:ext cx="1268960" cy="438775"/>
            <a:chOff x="254665" y="195486"/>
            <a:chExt cx="951720" cy="329081"/>
          </a:xfrm>
        </p:grpSpPr>
        <p:sp>
          <p:nvSpPr>
            <p:cNvPr id="80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3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4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5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6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7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8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0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1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2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3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4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494785"/>
            <a:ext cx="4421068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10594" name="Picture 2" descr="Изображение Метапредметные результаты. Стандартизированные материалы для промежуточной аттестации. 5 класс. Варианты 1,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799" y="1824956"/>
            <a:ext cx="1978014" cy="2697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596" name="Picture 4" descr="Изображение Метапредметные результаты. Стандартизированные материалы для оценки читательской грамотности. 9 класс. Варианты 1-4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7219" y="1850416"/>
            <a:ext cx="2020384" cy="26971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2684233" y="-29873"/>
            <a:ext cx="816351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>
                <a:solidFill>
                  <a:srgbClr val="002060"/>
                </a:solidFill>
              </a:rPr>
              <a:t>СЕРИЯ «ФГОС. ОЦЕНКА ОБРАЗОВАТЕЛЬНЫХ ДОСТИЖЕНИЙ»</a:t>
            </a:r>
          </a:p>
        </p:txBody>
      </p:sp>
      <p:cxnSp>
        <p:nvCxnSpPr>
          <p:cNvPr id="50" name="Прямая соединительная линия 49"/>
          <p:cNvCxnSpPr/>
          <p:nvPr/>
        </p:nvCxnSpPr>
        <p:spPr>
          <a:xfrm>
            <a:off x="1650777" y="471580"/>
            <a:ext cx="9701341" cy="15932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6"/>
          <p:cNvSpPr/>
          <p:nvPr/>
        </p:nvSpPr>
        <p:spPr>
          <a:xfrm>
            <a:off x="2821545" y="632156"/>
            <a:ext cx="810686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dirty="0">
                <a:solidFill>
                  <a:srgbClr val="333333"/>
                </a:solidFill>
              </a:rPr>
              <a:t>Стандартизированные материалы для промежуточной аттестации.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4885469" y="1808388"/>
            <a:ext cx="6096000" cy="286232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333333"/>
                </a:solidFill>
              </a:rPr>
              <a:t>Комплект разработан в соответствии с международными требования исследования PISA 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333333"/>
                </a:solidFill>
              </a:rPr>
              <a:t>Проверочные работы включают тексты по четырём предметным областям (русскому языку, математике, естествознанию, истории/обществознанию) и задания к ним, направленные на оценку </a:t>
            </a:r>
            <a:r>
              <a:rPr lang="ru-RU" dirty="0" err="1">
                <a:solidFill>
                  <a:srgbClr val="333333"/>
                </a:solidFill>
              </a:rPr>
              <a:t>сформированности</a:t>
            </a:r>
            <a:r>
              <a:rPr lang="ru-RU" dirty="0">
                <a:solidFill>
                  <a:srgbClr val="333333"/>
                </a:solidFill>
              </a:rPr>
              <a:t> </a:t>
            </a:r>
            <a:r>
              <a:rPr lang="ru-RU" sz="1600" dirty="0">
                <a:solidFill>
                  <a:srgbClr val="333333"/>
                </a:solidFill>
              </a:rPr>
              <a:t>читательских</a:t>
            </a:r>
            <a:r>
              <a:rPr lang="ru-RU" dirty="0">
                <a:solidFill>
                  <a:srgbClr val="333333"/>
                </a:solidFill>
              </a:rPr>
              <a:t> умений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333333"/>
                </a:solidFill>
              </a:rPr>
              <a:t>Может быть использован для проведения промежуточной аттестации в конце учебного года</a:t>
            </a:r>
            <a:r>
              <a:rPr lang="ru-RU" dirty="0"/>
              <a:t>.</a:t>
            </a:r>
            <a:endParaRPr lang="ru-RU" dirty="0">
              <a:solidFill>
                <a:srgbClr val="333333"/>
              </a:solidFill>
            </a:endParaRPr>
          </a:p>
          <a:p>
            <a:r>
              <a:rPr lang="ru-RU" dirty="0">
                <a:solidFill>
                  <a:srgbClr val="333333"/>
                </a:solidFill>
              </a:rPr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8794358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 smtClean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54" name="Группа 53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5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71" name="Прямая соединительная линия 70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Прямая соединительная линия 72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4286853" y="485751"/>
            <a:ext cx="114782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2313889" y="6141117"/>
            <a:ext cx="7570040" cy="4585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lvl="0">
              <a:lnSpc>
                <a:spcPct val="85000"/>
              </a:lnSpc>
              <a:defRPr b="1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/>
              </a:rPr>
              <a:t>https://uchitel.club/</a:t>
            </a: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37989" y="792517"/>
            <a:ext cx="8637878" cy="5193627"/>
          </a:xfrm>
          <a:prstGeom prst="rect">
            <a:avLst/>
          </a:prstGeom>
        </p:spPr>
      </p:pic>
      <p:sp>
        <p:nvSpPr>
          <p:cNvPr id="34" name="TextBox 33"/>
          <p:cNvSpPr txBox="1"/>
          <p:nvPr/>
        </p:nvSpPr>
        <p:spPr>
          <a:xfrm>
            <a:off x="1933043" y="105325"/>
            <a:ext cx="9697077" cy="4062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lvl="0">
              <a:lnSpc>
                <a:spcPct val="85000"/>
              </a:lnSpc>
              <a:defRPr b="1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rlito"/>
              </a:rPr>
              <a:t>ПРОСВЕЩЕНИЕ. ПОДДЕРЖКА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956860" y="2686354"/>
            <a:ext cx="3854139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285750" lvl="0" indent="-285750">
              <a:spcBef>
                <a:spcPts val="1800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Портал, на котором собраны материалы в  помощь учителям и родителям для организации обучения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Консультации при выполнении домашних заданий в 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видеоформате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 Обмен лучшими практиками, их апробация и распространение в сотрудничестве с органами управления образованием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</a:b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9" y="6539934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cxnSp>
        <p:nvCxnSpPr>
          <p:cNvPr id="28" name="Прямая соединительная линия 27"/>
          <p:cNvCxnSpPr/>
          <p:nvPr/>
        </p:nvCxnSpPr>
        <p:spPr>
          <a:xfrm>
            <a:off x="1838909" y="550524"/>
            <a:ext cx="9637072" cy="40087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27147802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5"/>
          <p:cNvSpPr>
            <a:spLocks noChangeArrowheads="1"/>
          </p:cNvSpPr>
          <p:nvPr/>
        </p:nvSpPr>
        <p:spPr bwMode="auto">
          <a:xfrm>
            <a:off x="-1" y="8533"/>
            <a:ext cx="12192001" cy="6849467"/>
          </a:xfrm>
          <a:prstGeom prst="rect">
            <a:avLst/>
          </a:prstGeom>
          <a:solidFill>
            <a:srgbClr val="F0F8F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8" name="Прямоугольник 97"/>
          <p:cNvSpPr/>
          <p:nvPr/>
        </p:nvSpPr>
        <p:spPr>
          <a:xfrm>
            <a:off x="186182" y="2852936"/>
            <a:ext cx="11819633" cy="3360373"/>
          </a:xfrm>
          <a:prstGeom prst="rect">
            <a:avLst/>
          </a:prstGeom>
          <a:solidFill>
            <a:srgbClr val="D8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29" name="Rectangle 7"/>
          <p:cNvSpPr>
            <a:spLocks noChangeArrowheads="1"/>
          </p:cNvSpPr>
          <p:nvPr/>
        </p:nvSpPr>
        <p:spPr bwMode="auto">
          <a:xfrm>
            <a:off x="7573455" y="202455"/>
            <a:ext cx="1477453" cy="1233124"/>
          </a:xfrm>
          <a:prstGeom prst="rect">
            <a:avLst/>
          </a:prstGeom>
          <a:solidFill>
            <a:srgbClr val="9ED44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0" name="Rectangle 8"/>
          <p:cNvSpPr>
            <a:spLocks noChangeArrowheads="1"/>
          </p:cNvSpPr>
          <p:nvPr/>
        </p:nvSpPr>
        <p:spPr bwMode="auto">
          <a:xfrm>
            <a:off x="4618544" y="203633"/>
            <a:ext cx="1477453" cy="1233124"/>
          </a:xfrm>
          <a:prstGeom prst="rect">
            <a:avLst/>
          </a:prstGeom>
          <a:solidFill>
            <a:srgbClr val="9ED44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7573455" y="1436757"/>
            <a:ext cx="1477453" cy="1233124"/>
          </a:xfrm>
          <a:prstGeom prst="rect">
            <a:avLst/>
          </a:prstGeom>
          <a:solidFill>
            <a:srgbClr val="40A7E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3" name="Rectangle 11"/>
          <p:cNvSpPr>
            <a:spLocks noChangeArrowheads="1"/>
          </p:cNvSpPr>
          <p:nvPr/>
        </p:nvSpPr>
        <p:spPr bwMode="auto">
          <a:xfrm>
            <a:off x="3141091" y="203633"/>
            <a:ext cx="1477453" cy="1233124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4" name="Rectangle 12"/>
          <p:cNvSpPr>
            <a:spLocks noChangeArrowheads="1"/>
          </p:cNvSpPr>
          <p:nvPr/>
        </p:nvSpPr>
        <p:spPr bwMode="auto">
          <a:xfrm>
            <a:off x="6096002" y="203633"/>
            <a:ext cx="1477453" cy="1233124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5" name="Rectangle 13"/>
          <p:cNvSpPr>
            <a:spLocks noChangeArrowheads="1"/>
          </p:cNvSpPr>
          <p:nvPr/>
        </p:nvSpPr>
        <p:spPr bwMode="auto">
          <a:xfrm>
            <a:off x="10528363" y="203633"/>
            <a:ext cx="1477453" cy="1233124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6" name="Rectangle 14"/>
          <p:cNvSpPr>
            <a:spLocks noChangeArrowheads="1"/>
          </p:cNvSpPr>
          <p:nvPr/>
        </p:nvSpPr>
        <p:spPr bwMode="auto">
          <a:xfrm>
            <a:off x="9050908" y="1436757"/>
            <a:ext cx="1477453" cy="1233124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7" name="Rectangle 15"/>
          <p:cNvSpPr>
            <a:spLocks noChangeArrowheads="1"/>
          </p:cNvSpPr>
          <p:nvPr/>
        </p:nvSpPr>
        <p:spPr bwMode="auto">
          <a:xfrm>
            <a:off x="186183" y="203633"/>
            <a:ext cx="1477453" cy="1233124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9" name="Rectangle 17"/>
          <p:cNvSpPr>
            <a:spLocks noChangeArrowheads="1"/>
          </p:cNvSpPr>
          <p:nvPr/>
        </p:nvSpPr>
        <p:spPr bwMode="auto">
          <a:xfrm>
            <a:off x="9050910" y="202454"/>
            <a:ext cx="1477453" cy="1233124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9"/>
          <p:cNvSpPr>
            <a:spLocks noChangeArrowheads="1"/>
          </p:cNvSpPr>
          <p:nvPr/>
        </p:nvSpPr>
        <p:spPr bwMode="auto">
          <a:xfrm>
            <a:off x="6096002" y="1436757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2" name="Rectangle 20"/>
          <p:cNvSpPr>
            <a:spLocks noChangeArrowheads="1"/>
          </p:cNvSpPr>
          <p:nvPr/>
        </p:nvSpPr>
        <p:spPr bwMode="auto">
          <a:xfrm>
            <a:off x="10528363" y="1436757"/>
            <a:ext cx="1477453" cy="1233124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3" name="Rectangle 21"/>
          <p:cNvSpPr>
            <a:spLocks noChangeArrowheads="1"/>
          </p:cNvSpPr>
          <p:nvPr/>
        </p:nvSpPr>
        <p:spPr bwMode="auto">
          <a:xfrm>
            <a:off x="4618544" y="1436757"/>
            <a:ext cx="1477453" cy="1233124"/>
          </a:xfrm>
          <a:prstGeom prst="rect">
            <a:avLst/>
          </a:prstGeom>
          <a:solidFill>
            <a:srgbClr val="40A7E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22"/>
          <p:cNvSpPr>
            <a:spLocks noChangeArrowheads="1"/>
          </p:cNvSpPr>
          <p:nvPr/>
        </p:nvSpPr>
        <p:spPr bwMode="auto">
          <a:xfrm>
            <a:off x="3141091" y="1436757"/>
            <a:ext cx="1477453" cy="1233124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24"/>
          <p:cNvSpPr>
            <a:spLocks noChangeArrowheads="1"/>
          </p:cNvSpPr>
          <p:nvPr/>
        </p:nvSpPr>
        <p:spPr bwMode="auto">
          <a:xfrm>
            <a:off x="1663636" y="203633"/>
            <a:ext cx="1477453" cy="1233124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7" name="Rectangle 25"/>
          <p:cNvSpPr>
            <a:spLocks noChangeArrowheads="1"/>
          </p:cNvSpPr>
          <p:nvPr/>
        </p:nvSpPr>
        <p:spPr bwMode="auto">
          <a:xfrm>
            <a:off x="1663636" y="1436757"/>
            <a:ext cx="1477453" cy="1233124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1" name="Rectangle 29"/>
          <p:cNvSpPr>
            <a:spLocks noChangeArrowheads="1"/>
          </p:cNvSpPr>
          <p:nvPr/>
        </p:nvSpPr>
        <p:spPr bwMode="auto">
          <a:xfrm>
            <a:off x="186183" y="1436757"/>
            <a:ext cx="1477453" cy="1233124"/>
          </a:xfrm>
          <a:prstGeom prst="rect">
            <a:avLst/>
          </a:prstGeom>
          <a:solidFill>
            <a:srgbClr val="9ED44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4" name="Freeform 32"/>
          <p:cNvSpPr>
            <a:spLocks noEditPoints="1"/>
          </p:cNvSpPr>
          <p:nvPr/>
        </p:nvSpPr>
        <p:spPr bwMode="auto">
          <a:xfrm>
            <a:off x="8017892" y="1855717"/>
            <a:ext cx="591581" cy="444227"/>
          </a:xfrm>
          <a:custGeom>
            <a:avLst/>
            <a:gdLst>
              <a:gd name="T0" fmla="*/ 787 w 859"/>
              <a:gd name="T1" fmla="*/ 107 h 644"/>
              <a:gd name="T2" fmla="*/ 787 w 859"/>
              <a:gd name="T3" fmla="*/ 573 h 644"/>
              <a:gd name="T4" fmla="*/ 537 w 859"/>
              <a:gd name="T5" fmla="*/ 573 h 644"/>
              <a:gd name="T6" fmla="*/ 465 w 859"/>
              <a:gd name="T7" fmla="*/ 644 h 644"/>
              <a:gd name="T8" fmla="*/ 859 w 859"/>
              <a:gd name="T9" fmla="*/ 644 h 644"/>
              <a:gd name="T10" fmla="*/ 859 w 859"/>
              <a:gd name="T11" fmla="*/ 107 h 644"/>
              <a:gd name="T12" fmla="*/ 787 w 859"/>
              <a:gd name="T13" fmla="*/ 107 h 644"/>
              <a:gd name="T14" fmla="*/ 476 w 859"/>
              <a:gd name="T15" fmla="*/ 476 h 644"/>
              <a:gd name="T16" fmla="*/ 383 w 859"/>
              <a:gd name="T17" fmla="*/ 476 h 644"/>
              <a:gd name="T18" fmla="*/ 373 w 859"/>
              <a:gd name="T19" fmla="*/ 465 h 644"/>
              <a:gd name="T20" fmla="*/ 179 w 859"/>
              <a:gd name="T21" fmla="*/ 465 h 644"/>
              <a:gd name="T22" fmla="*/ 179 w 859"/>
              <a:gd name="T23" fmla="*/ 71 h 644"/>
              <a:gd name="T24" fmla="*/ 344 w 859"/>
              <a:gd name="T25" fmla="*/ 71 h 644"/>
              <a:gd name="T26" fmla="*/ 393 w 859"/>
              <a:gd name="T27" fmla="*/ 96 h 644"/>
              <a:gd name="T28" fmla="*/ 393 w 859"/>
              <a:gd name="T29" fmla="*/ 358 h 644"/>
              <a:gd name="T30" fmla="*/ 465 w 859"/>
              <a:gd name="T31" fmla="*/ 358 h 644"/>
              <a:gd name="T32" fmla="*/ 465 w 859"/>
              <a:gd name="T33" fmla="*/ 96 h 644"/>
              <a:gd name="T34" fmla="*/ 515 w 859"/>
              <a:gd name="T35" fmla="*/ 71 h 644"/>
              <a:gd name="T36" fmla="*/ 680 w 859"/>
              <a:gd name="T37" fmla="*/ 71 h 644"/>
              <a:gd name="T38" fmla="*/ 680 w 859"/>
              <a:gd name="T39" fmla="*/ 465 h 644"/>
              <a:gd name="T40" fmla="*/ 486 w 859"/>
              <a:gd name="T41" fmla="*/ 465 h 644"/>
              <a:gd name="T42" fmla="*/ 476 w 859"/>
              <a:gd name="T43" fmla="*/ 476 h 644"/>
              <a:gd name="T44" fmla="*/ 752 w 859"/>
              <a:gd name="T45" fmla="*/ 537 h 644"/>
              <a:gd name="T46" fmla="*/ 752 w 859"/>
              <a:gd name="T47" fmla="*/ 0 h 644"/>
              <a:gd name="T48" fmla="*/ 486 w 859"/>
              <a:gd name="T49" fmla="*/ 0 h 644"/>
              <a:gd name="T50" fmla="*/ 476 w 859"/>
              <a:gd name="T51" fmla="*/ 10 h 644"/>
              <a:gd name="T52" fmla="*/ 383 w 859"/>
              <a:gd name="T53" fmla="*/ 10 h 644"/>
              <a:gd name="T54" fmla="*/ 373 w 859"/>
              <a:gd name="T55" fmla="*/ 0 h 644"/>
              <a:gd name="T56" fmla="*/ 107 w 859"/>
              <a:gd name="T57" fmla="*/ 0 h 644"/>
              <a:gd name="T58" fmla="*/ 107 w 859"/>
              <a:gd name="T59" fmla="*/ 537 h 644"/>
              <a:gd name="T60" fmla="*/ 344 w 859"/>
              <a:gd name="T61" fmla="*/ 537 h 644"/>
              <a:gd name="T62" fmla="*/ 429 w 859"/>
              <a:gd name="T63" fmla="*/ 566 h 644"/>
              <a:gd name="T64" fmla="*/ 515 w 859"/>
              <a:gd name="T65" fmla="*/ 537 h 644"/>
              <a:gd name="T66" fmla="*/ 752 w 859"/>
              <a:gd name="T67" fmla="*/ 537 h 644"/>
              <a:gd name="T68" fmla="*/ 71 w 859"/>
              <a:gd name="T69" fmla="*/ 573 h 644"/>
              <a:gd name="T70" fmla="*/ 71 w 859"/>
              <a:gd name="T71" fmla="*/ 107 h 644"/>
              <a:gd name="T72" fmla="*/ 0 w 859"/>
              <a:gd name="T73" fmla="*/ 107 h 644"/>
              <a:gd name="T74" fmla="*/ 0 w 859"/>
              <a:gd name="T75" fmla="*/ 644 h 644"/>
              <a:gd name="T76" fmla="*/ 394 w 859"/>
              <a:gd name="T77" fmla="*/ 644 h 644"/>
              <a:gd name="T78" fmla="*/ 322 w 859"/>
              <a:gd name="T79" fmla="*/ 573 h 644"/>
              <a:gd name="T80" fmla="*/ 71 w 859"/>
              <a:gd name="T81" fmla="*/ 573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9" h="644">
                <a:moveTo>
                  <a:pt x="787" y="107"/>
                </a:moveTo>
                <a:lnTo>
                  <a:pt x="787" y="573"/>
                </a:lnTo>
                <a:lnTo>
                  <a:pt x="537" y="573"/>
                </a:lnTo>
                <a:lnTo>
                  <a:pt x="465" y="644"/>
                </a:lnTo>
                <a:lnTo>
                  <a:pt x="859" y="644"/>
                </a:lnTo>
                <a:lnTo>
                  <a:pt x="859" y="107"/>
                </a:lnTo>
                <a:lnTo>
                  <a:pt x="787" y="107"/>
                </a:lnTo>
                <a:close/>
                <a:moveTo>
                  <a:pt x="476" y="476"/>
                </a:moveTo>
                <a:cubicBezTo>
                  <a:pt x="450" y="501"/>
                  <a:pt x="409" y="501"/>
                  <a:pt x="383" y="476"/>
                </a:cubicBezTo>
                <a:lnTo>
                  <a:pt x="373" y="465"/>
                </a:lnTo>
                <a:lnTo>
                  <a:pt x="179" y="465"/>
                </a:lnTo>
                <a:lnTo>
                  <a:pt x="179" y="71"/>
                </a:lnTo>
                <a:lnTo>
                  <a:pt x="344" y="71"/>
                </a:lnTo>
                <a:cubicBezTo>
                  <a:pt x="359" y="71"/>
                  <a:pt x="393" y="91"/>
                  <a:pt x="393" y="96"/>
                </a:cubicBezTo>
                <a:lnTo>
                  <a:pt x="393" y="358"/>
                </a:lnTo>
                <a:lnTo>
                  <a:pt x="465" y="358"/>
                </a:lnTo>
                <a:lnTo>
                  <a:pt x="465" y="96"/>
                </a:lnTo>
                <a:cubicBezTo>
                  <a:pt x="465" y="91"/>
                  <a:pt x="500" y="71"/>
                  <a:pt x="515" y="71"/>
                </a:cubicBezTo>
                <a:lnTo>
                  <a:pt x="680" y="71"/>
                </a:lnTo>
                <a:lnTo>
                  <a:pt x="680" y="465"/>
                </a:lnTo>
                <a:lnTo>
                  <a:pt x="486" y="465"/>
                </a:lnTo>
                <a:lnTo>
                  <a:pt x="476" y="476"/>
                </a:lnTo>
                <a:close/>
                <a:moveTo>
                  <a:pt x="752" y="537"/>
                </a:moveTo>
                <a:lnTo>
                  <a:pt x="752" y="0"/>
                </a:lnTo>
                <a:lnTo>
                  <a:pt x="486" y="0"/>
                </a:lnTo>
                <a:lnTo>
                  <a:pt x="476" y="10"/>
                </a:lnTo>
                <a:cubicBezTo>
                  <a:pt x="450" y="36"/>
                  <a:pt x="409" y="36"/>
                  <a:pt x="383" y="10"/>
                </a:cubicBezTo>
                <a:lnTo>
                  <a:pt x="373" y="0"/>
                </a:lnTo>
                <a:lnTo>
                  <a:pt x="107" y="0"/>
                </a:lnTo>
                <a:lnTo>
                  <a:pt x="107" y="537"/>
                </a:lnTo>
                <a:lnTo>
                  <a:pt x="344" y="537"/>
                </a:lnTo>
                <a:cubicBezTo>
                  <a:pt x="369" y="573"/>
                  <a:pt x="399" y="566"/>
                  <a:pt x="429" y="566"/>
                </a:cubicBezTo>
                <a:cubicBezTo>
                  <a:pt x="460" y="566"/>
                  <a:pt x="490" y="573"/>
                  <a:pt x="515" y="537"/>
                </a:cubicBezTo>
                <a:lnTo>
                  <a:pt x="752" y="537"/>
                </a:lnTo>
                <a:close/>
                <a:moveTo>
                  <a:pt x="71" y="573"/>
                </a:moveTo>
                <a:lnTo>
                  <a:pt x="71" y="107"/>
                </a:lnTo>
                <a:lnTo>
                  <a:pt x="0" y="107"/>
                </a:lnTo>
                <a:lnTo>
                  <a:pt x="0" y="644"/>
                </a:lnTo>
                <a:lnTo>
                  <a:pt x="394" y="644"/>
                </a:lnTo>
                <a:lnTo>
                  <a:pt x="322" y="573"/>
                </a:lnTo>
                <a:lnTo>
                  <a:pt x="71" y="5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5" name="Freeform 33"/>
          <p:cNvSpPr>
            <a:spLocks noEditPoints="1"/>
          </p:cNvSpPr>
          <p:nvPr/>
        </p:nvSpPr>
        <p:spPr bwMode="auto">
          <a:xfrm>
            <a:off x="8017892" y="610323"/>
            <a:ext cx="591581" cy="543275"/>
          </a:xfrm>
          <a:custGeom>
            <a:avLst/>
            <a:gdLst>
              <a:gd name="T0" fmla="*/ 143 w 859"/>
              <a:gd name="T1" fmla="*/ 645 h 788"/>
              <a:gd name="T2" fmla="*/ 143 w 859"/>
              <a:gd name="T3" fmla="*/ 430 h 788"/>
              <a:gd name="T4" fmla="*/ 716 w 859"/>
              <a:gd name="T5" fmla="*/ 430 h 788"/>
              <a:gd name="T6" fmla="*/ 716 w 859"/>
              <a:gd name="T7" fmla="*/ 645 h 788"/>
              <a:gd name="T8" fmla="*/ 143 w 859"/>
              <a:gd name="T9" fmla="*/ 645 h 788"/>
              <a:gd name="T10" fmla="*/ 179 w 859"/>
              <a:gd name="T11" fmla="*/ 72 h 788"/>
              <a:gd name="T12" fmla="*/ 680 w 859"/>
              <a:gd name="T13" fmla="*/ 72 h 788"/>
              <a:gd name="T14" fmla="*/ 716 w 859"/>
              <a:gd name="T15" fmla="*/ 108 h 788"/>
              <a:gd name="T16" fmla="*/ 716 w 859"/>
              <a:gd name="T17" fmla="*/ 358 h 788"/>
              <a:gd name="T18" fmla="*/ 465 w 859"/>
              <a:gd name="T19" fmla="*/ 358 h 788"/>
              <a:gd name="T20" fmla="*/ 465 w 859"/>
              <a:gd name="T21" fmla="*/ 108 h 788"/>
              <a:gd name="T22" fmla="*/ 393 w 859"/>
              <a:gd name="T23" fmla="*/ 108 h 788"/>
              <a:gd name="T24" fmla="*/ 393 w 859"/>
              <a:gd name="T25" fmla="*/ 358 h 788"/>
              <a:gd name="T26" fmla="*/ 143 w 859"/>
              <a:gd name="T27" fmla="*/ 358 h 788"/>
              <a:gd name="T28" fmla="*/ 143 w 859"/>
              <a:gd name="T29" fmla="*/ 108 h 788"/>
              <a:gd name="T30" fmla="*/ 179 w 859"/>
              <a:gd name="T31" fmla="*/ 72 h 788"/>
              <a:gd name="T32" fmla="*/ 787 w 859"/>
              <a:gd name="T33" fmla="*/ 179 h 788"/>
              <a:gd name="T34" fmla="*/ 787 w 859"/>
              <a:gd name="T35" fmla="*/ 108 h 788"/>
              <a:gd name="T36" fmla="*/ 680 w 859"/>
              <a:gd name="T37" fmla="*/ 0 h 788"/>
              <a:gd name="T38" fmla="*/ 179 w 859"/>
              <a:gd name="T39" fmla="*/ 0 h 788"/>
              <a:gd name="T40" fmla="*/ 71 w 859"/>
              <a:gd name="T41" fmla="*/ 108 h 788"/>
              <a:gd name="T42" fmla="*/ 71 w 859"/>
              <a:gd name="T43" fmla="*/ 179 h 788"/>
              <a:gd name="T44" fmla="*/ 0 w 859"/>
              <a:gd name="T45" fmla="*/ 179 h 788"/>
              <a:gd name="T46" fmla="*/ 0 w 859"/>
              <a:gd name="T47" fmla="*/ 358 h 788"/>
              <a:gd name="T48" fmla="*/ 71 w 859"/>
              <a:gd name="T49" fmla="*/ 358 h 788"/>
              <a:gd name="T50" fmla="*/ 71 w 859"/>
              <a:gd name="T51" fmla="*/ 716 h 788"/>
              <a:gd name="T52" fmla="*/ 143 w 859"/>
              <a:gd name="T53" fmla="*/ 716 h 788"/>
              <a:gd name="T54" fmla="*/ 143 w 859"/>
              <a:gd name="T55" fmla="*/ 788 h 788"/>
              <a:gd name="T56" fmla="*/ 214 w 859"/>
              <a:gd name="T57" fmla="*/ 788 h 788"/>
              <a:gd name="T58" fmla="*/ 214 w 859"/>
              <a:gd name="T59" fmla="*/ 716 h 788"/>
              <a:gd name="T60" fmla="*/ 644 w 859"/>
              <a:gd name="T61" fmla="*/ 716 h 788"/>
              <a:gd name="T62" fmla="*/ 644 w 859"/>
              <a:gd name="T63" fmla="*/ 788 h 788"/>
              <a:gd name="T64" fmla="*/ 716 w 859"/>
              <a:gd name="T65" fmla="*/ 788 h 788"/>
              <a:gd name="T66" fmla="*/ 716 w 859"/>
              <a:gd name="T67" fmla="*/ 716 h 788"/>
              <a:gd name="T68" fmla="*/ 787 w 859"/>
              <a:gd name="T69" fmla="*/ 716 h 788"/>
              <a:gd name="T70" fmla="*/ 787 w 859"/>
              <a:gd name="T71" fmla="*/ 358 h 788"/>
              <a:gd name="T72" fmla="*/ 859 w 859"/>
              <a:gd name="T73" fmla="*/ 358 h 788"/>
              <a:gd name="T74" fmla="*/ 859 w 859"/>
              <a:gd name="T75" fmla="*/ 179 h 788"/>
              <a:gd name="T76" fmla="*/ 787 w 859"/>
              <a:gd name="T77" fmla="*/ 179 h 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59" h="788">
                <a:moveTo>
                  <a:pt x="143" y="645"/>
                </a:moveTo>
                <a:lnTo>
                  <a:pt x="143" y="430"/>
                </a:lnTo>
                <a:lnTo>
                  <a:pt x="716" y="430"/>
                </a:lnTo>
                <a:lnTo>
                  <a:pt x="716" y="645"/>
                </a:lnTo>
                <a:lnTo>
                  <a:pt x="143" y="645"/>
                </a:lnTo>
                <a:close/>
                <a:moveTo>
                  <a:pt x="179" y="72"/>
                </a:moveTo>
                <a:lnTo>
                  <a:pt x="680" y="72"/>
                </a:lnTo>
                <a:cubicBezTo>
                  <a:pt x="700" y="72"/>
                  <a:pt x="716" y="88"/>
                  <a:pt x="716" y="108"/>
                </a:cubicBezTo>
                <a:lnTo>
                  <a:pt x="716" y="358"/>
                </a:lnTo>
                <a:lnTo>
                  <a:pt x="465" y="358"/>
                </a:lnTo>
                <a:lnTo>
                  <a:pt x="465" y="108"/>
                </a:lnTo>
                <a:lnTo>
                  <a:pt x="393" y="108"/>
                </a:lnTo>
                <a:lnTo>
                  <a:pt x="393" y="358"/>
                </a:lnTo>
                <a:lnTo>
                  <a:pt x="143" y="358"/>
                </a:lnTo>
                <a:lnTo>
                  <a:pt x="143" y="108"/>
                </a:lnTo>
                <a:cubicBezTo>
                  <a:pt x="143" y="88"/>
                  <a:pt x="159" y="72"/>
                  <a:pt x="179" y="72"/>
                </a:cubicBezTo>
                <a:close/>
                <a:moveTo>
                  <a:pt x="787" y="179"/>
                </a:moveTo>
                <a:lnTo>
                  <a:pt x="787" y="108"/>
                </a:lnTo>
                <a:cubicBezTo>
                  <a:pt x="787" y="48"/>
                  <a:pt x="739" y="0"/>
                  <a:pt x="680" y="0"/>
                </a:cubicBezTo>
                <a:lnTo>
                  <a:pt x="179" y="0"/>
                </a:lnTo>
                <a:cubicBezTo>
                  <a:pt x="120" y="0"/>
                  <a:pt x="71" y="48"/>
                  <a:pt x="71" y="108"/>
                </a:cubicBezTo>
                <a:lnTo>
                  <a:pt x="71" y="179"/>
                </a:lnTo>
                <a:lnTo>
                  <a:pt x="0" y="179"/>
                </a:lnTo>
                <a:lnTo>
                  <a:pt x="0" y="358"/>
                </a:lnTo>
                <a:lnTo>
                  <a:pt x="71" y="358"/>
                </a:lnTo>
                <a:lnTo>
                  <a:pt x="71" y="716"/>
                </a:lnTo>
                <a:lnTo>
                  <a:pt x="143" y="716"/>
                </a:lnTo>
                <a:lnTo>
                  <a:pt x="143" y="788"/>
                </a:lnTo>
                <a:lnTo>
                  <a:pt x="214" y="788"/>
                </a:lnTo>
                <a:lnTo>
                  <a:pt x="214" y="716"/>
                </a:lnTo>
                <a:lnTo>
                  <a:pt x="644" y="716"/>
                </a:lnTo>
                <a:lnTo>
                  <a:pt x="644" y="788"/>
                </a:lnTo>
                <a:lnTo>
                  <a:pt x="716" y="788"/>
                </a:lnTo>
                <a:lnTo>
                  <a:pt x="716" y="716"/>
                </a:lnTo>
                <a:lnTo>
                  <a:pt x="787" y="716"/>
                </a:lnTo>
                <a:lnTo>
                  <a:pt x="787" y="358"/>
                </a:lnTo>
                <a:lnTo>
                  <a:pt x="859" y="358"/>
                </a:lnTo>
                <a:lnTo>
                  <a:pt x="859" y="179"/>
                </a:lnTo>
                <a:lnTo>
                  <a:pt x="787" y="17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34"/>
          <p:cNvSpPr>
            <a:spLocks noChangeArrowheads="1"/>
          </p:cNvSpPr>
          <p:nvPr/>
        </p:nvSpPr>
        <p:spPr bwMode="auto">
          <a:xfrm>
            <a:off x="8141012" y="961576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7" name="Rectangle 35"/>
          <p:cNvSpPr>
            <a:spLocks noChangeArrowheads="1"/>
          </p:cNvSpPr>
          <p:nvPr/>
        </p:nvSpPr>
        <p:spPr bwMode="auto">
          <a:xfrm>
            <a:off x="8363231" y="961576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8" name="Rectangle 36"/>
          <p:cNvSpPr>
            <a:spLocks noChangeArrowheads="1"/>
          </p:cNvSpPr>
          <p:nvPr/>
        </p:nvSpPr>
        <p:spPr bwMode="auto">
          <a:xfrm>
            <a:off x="2279241" y="647860"/>
            <a:ext cx="246243" cy="480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7"/>
          <p:cNvSpPr>
            <a:spLocks noEditPoints="1"/>
          </p:cNvSpPr>
          <p:nvPr/>
        </p:nvSpPr>
        <p:spPr bwMode="auto">
          <a:xfrm>
            <a:off x="2177142" y="560563"/>
            <a:ext cx="447441" cy="519263"/>
          </a:xfrm>
          <a:custGeom>
            <a:avLst/>
            <a:gdLst>
              <a:gd name="T0" fmla="*/ 212 w 651"/>
              <a:gd name="T1" fmla="*/ 446 h 752"/>
              <a:gd name="T2" fmla="*/ 281 w 651"/>
              <a:gd name="T3" fmla="*/ 680 h 752"/>
              <a:gd name="T4" fmla="*/ 290 w 651"/>
              <a:gd name="T5" fmla="*/ 680 h 752"/>
              <a:gd name="T6" fmla="*/ 290 w 651"/>
              <a:gd name="T7" fmla="*/ 348 h 752"/>
              <a:gd name="T8" fmla="*/ 254 w 651"/>
              <a:gd name="T9" fmla="*/ 286 h 752"/>
              <a:gd name="T10" fmla="*/ 326 w 651"/>
              <a:gd name="T11" fmla="*/ 215 h 752"/>
              <a:gd name="T12" fmla="*/ 397 w 651"/>
              <a:gd name="T13" fmla="*/ 286 h 752"/>
              <a:gd name="T14" fmla="*/ 362 w 651"/>
              <a:gd name="T15" fmla="*/ 348 h 752"/>
              <a:gd name="T16" fmla="*/ 362 w 651"/>
              <a:gd name="T17" fmla="*/ 680 h 752"/>
              <a:gd name="T18" fmla="*/ 370 w 651"/>
              <a:gd name="T19" fmla="*/ 680 h 752"/>
              <a:gd name="T20" fmla="*/ 435 w 651"/>
              <a:gd name="T21" fmla="*/ 456 h 752"/>
              <a:gd name="T22" fmla="*/ 573 w 651"/>
              <a:gd name="T23" fmla="*/ 245 h 752"/>
              <a:gd name="T24" fmla="*/ 326 w 651"/>
              <a:gd name="T25" fmla="*/ 72 h 752"/>
              <a:gd name="T26" fmla="*/ 79 w 651"/>
              <a:gd name="T27" fmla="*/ 245 h 752"/>
              <a:gd name="T28" fmla="*/ 212 w 651"/>
              <a:gd name="T29" fmla="*/ 446 h 752"/>
              <a:gd name="T30" fmla="*/ 5 w 651"/>
              <a:gd name="T31" fmla="*/ 241 h 752"/>
              <a:gd name="T32" fmla="*/ 326 w 651"/>
              <a:gd name="T33" fmla="*/ 0 h 752"/>
              <a:gd name="T34" fmla="*/ 647 w 651"/>
              <a:gd name="T35" fmla="*/ 241 h 752"/>
              <a:gd name="T36" fmla="*/ 651 w 651"/>
              <a:gd name="T37" fmla="*/ 257 h 752"/>
              <a:gd name="T38" fmla="*/ 502 w 651"/>
              <a:gd name="T39" fmla="*/ 481 h 752"/>
              <a:gd name="T40" fmla="*/ 424 w 651"/>
              <a:gd name="T41" fmla="*/ 752 h 752"/>
              <a:gd name="T42" fmla="*/ 227 w 651"/>
              <a:gd name="T43" fmla="*/ 752 h 752"/>
              <a:gd name="T44" fmla="*/ 150 w 651"/>
              <a:gd name="T45" fmla="*/ 481 h 752"/>
              <a:gd name="T46" fmla="*/ 0 w 651"/>
              <a:gd name="T47" fmla="*/ 257 h 752"/>
              <a:gd name="T48" fmla="*/ 5 w 651"/>
              <a:gd name="T49" fmla="*/ 24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51" h="752">
                <a:moveTo>
                  <a:pt x="212" y="446"/>
                </a:moveTo>
                <a:lnTo>
                  <a:pt x="281" y="680"/>
                </a:lnTo>
                <a:lnTo>
                  <a:pt x="290" y="680"/>
                </a:lnTo>
                <a:lnTo>
                  <a:pt x="290" y="348"/>
                </a:lnTo>
                <a:cubicBezTo>
                  <a:pt x="254" y="336"/>
                  <a:pt x="254" y="313"/>
                  <a:pt x="254" y="286"/>
                </a:cubicBezTo>
                <a:cubicBezTo>
                  <a:pt x="254" y="247"/>
                  <a:pt x="286" y="215"/>
                  <a:pt x="326" y="215"/>
                </a:cubicBezTo>
                <a:cubicBezTo>
                  <a:pt x="365" y="215"/>
                  <a:pt x="397" y="247"/>
                  <a:pt x="397" y="286"/>
                </a:cubicBezTo>
                <a:cubicBezTo>
                  <a:pt x="397" y="313"/>
                  <a:pt x="398" y="336"/>
                  <a:pt x="362" y="348"/>
                </a:cubicBezTo>
                <a:lnTo>
                  <a:pt x="362" y="680"/>
                </a:lnTo>
                <a:lnTo>
                  <a:pt x="370" y="680"/>
                </a:lnTo>
                <a:lnTo>
                  <a:pt x="435" y="456"/>
                </a:lnTo>
                <a:lnTo>
                  <a:pt x="573" y="245"/>
                </a:lnTo>
                <a:cubicBezTo>
                  <a:pt x="536" y="142"/>
                  <a:pt x="436" y="72"/>
                  <a:pt x="326" y="72"/>
                </a:cubicBezTo>
                <a:cubicBezTo>
                  <a:pt x="215" y="72"/>
                  <a:pt x="116" y="142"/>
                  <a:pt x="79" y="245"/>
                </a:cubicBezTo>
                <a:lnTo>
                  <a:pt x="212" y="446"/>
                </a:lnTo>
                <a:close/>
                <a:moveTo>
                  <a:pt x="5" y="241"/>
                </a:moveTo>
                <a:cubicBezTo>
                  <a:pt x="46" y="99"/>
                  <a:pt x="178" y="0"/>
                  <a:pt x="326" y="0"/>
                </a:cubicBezTo>
                <a:cubicBezTo>
                  <a:pt x="473" y="0"/>
                  <a:pt x="605" y="99"/>
                  <a:pt x="647" y="241"/>
                </a:cubicBezTo>
                <a:lnTo>
                  <a:pt x="651" y="257"/>
                </a:lnTo>
                <a:lnTo>
                  <a:pt x="502" y="481"/>
                </a:lnTo>
                <a:lnTo>
                  <a:pt x="424" y="752"/>
                </a:lnTo>
                <a:lnTo>
                  <a:pt x="227" y="752"/>
                </a:lnTo>
                <a:lnTo>
                  <a:pt x="150" y="481"/>
                </a:lnTo>
                <a:lnTo>
                  <a:pt x="0" y="257"/>
                </a:lnTo>
                <a:lnTo>
                  <a:pt x="5" y="24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0" name="Freeform 38"/>
          <p:cNvSpPr>
            <a:spLocks noEditPoints="1"/>
          </p:cNvSpPr>
          <p:nvPr/>
        </p:nvSpPr>
        <p:spPr bwMode="auto">
          <a:xfrm>
            <a:off x="11074901" y="1789685"/>
            <a:ext cx="384377" cy="576291"/>
          </a:xfrm>
          <a:custGeom>
            <a:avLst/>
            <a:gdLst>
              <a:gd name="T0" fmla="*/ 315 w 559"/>
              <a:gd name="T1" fmla="*/ 314 h 838"/>
              <a:gd name="T2" fmla="*/ 384 w 559"/>
              <a:gd name="T3" fmla="*/ 314 h 838"/>
              <a:gd name="T4" fmla="*/ 384 w 559"/>
              <a:gd name="T5" fmla="*/ 244 h 838"/>
              <a:gd name="T6" fmla="*/ 315 w 559"/>
              <a:gd name="T7" fmla="*/ 244 h 838"/>
              <a:gd name="T8" fmla="*/ 315 w 559"/>
              <a:gd name="T9" fmla="*/ 314 h 838"/>
              <a:gd name="T10" fmla="*/ 175 w 559"/>
              <a:gd name="T11" fmla="*/ 314 h 838"/>
              <a:gd name="T12" fmla="*/ 245 w 559"/>
              <a:gd name="T13" fmla="*/ 314 h 838"/>
              <a:gd name="T14" fmla="*/ 245 w 559"/>
              <a:gd name="T15" fmla="*/ 244 h 838"/>
              <a:gd name="T16" fmla="*/ 175 w 559"/>
              <a:gd name="T17" fmla="*/ 244 h 838"/>
              <a:gd name="T18" fmla="*/ 175 w 559"/>
              <a:gd name="T19" fmla="*/ 314 h 838"/>
              <a:gd name="T20" fmla="*/ 175 w 559"/>
              <a:gd name="T21" fmla="*/ 524 h 838"/>
              <a:gd name="T22" fmla="*/ 105 w 559"/>
              <a:gd name="T23" fmla="*/ 524 h 838"/>
              <a:gd name="T24" fmla="*/ 314 w 559"/>
              <a:gd name="T25" fmla="*/ 733 h 838"/>
              <a:gd name="T26" fmla="*/ 314 w 559"/>
              <a:gd name="T27" fmla="*/ 663 h 838"/>
              <a:gd name="T28" fmla="*/ 175 w 559"/>
              <a:gd name="T29" fmla="*/ 524 h 838"/>
              <a:gd name="T30" fmla="*/ 349 w 559"/>
              <a:gd name="T31" fmla="*/ 349 h 838"/>
              <a:gd name="T32" fmla="*/ 210 w 559"/>
              <a:gd name="T33" fmla="*/ 349 h 838"/>
              <a:gd name="T34" fmla="*/ 140 w 559"/>
              <a:gd name="T35" fmla="*/ 279 h 838"/>
              <a:gd name="T36" fmla="*/ 210 w 559"/>
              <a:gd name="T37" fmla="*/ 209 h 838"/>
              <a:gd name="T38" fmla="*/ 256 w 559"/>
              <a:gd name="T39" fmla="*/ 228 h 838"/>
              <a:gd name="T40" fmla="*/ 280 w 559"/>
              <a:gd name="T41" fmla="*/ 249 h 838"/>
              <a:gd name="T42" fmla="*/ 303 w 559"/>
              <a:gd name="T43" fmla="*/ 228 h 838"/>
              <a:gd name="T44" fmla="*/ 349 w 559"/>
              <a:gd name="T45" fmla="*/ 209 h 838"/>
              <a:gd name="T46" fmla="*/ 419 w 559"/>
              <a:gd name="T47" fmla="*/ 279 h 838"/>
              <a:gd name="T48" fmla="*/ 349 w 559"/>
              <a:gd name="T49" fmla="*/ 349 h 838"/>
              <a:gd name="T50" fmla="*/ 349 w 559"/>
              <a:gd name="T51" fmla="*/ 140 h 838"/>
              <a:gd name="T52" fmla="*/ 280 w 559"/>
              <a:gd name="T53" fmla="*/ 159 h 838"/>
              <a:gd name="T54" fmla="*/ 210 w 559"/>
              <a:gd name="T55" fmla="*/ 140 h 838"/>
              <a:gd name="T56" fmla="*/ 70 w 559"/>
              <a:gd name="T57" fmla="*/ 279 h 838"/>
              <a:gd name="T58" fmla="*/ 210 w 559"/>
              <a:gd name="T59" fmla="*/ 419 h 838"/>
              <a:gd name="T60" fmla="*/ 245 w 559"/>
              <a:gd name="T61" fmla="*/ 419 h 838"/>
              <a:gd name="T62" fmla="*/ 245 w 559"/>
              <a:gd name="T63" fmla="*/ 454 h 838"/>
              <a:gd name="T64" fmla="*/ 314 w 559"/>
              <a:gd name="T65" fmla="*/ 454 h 838"/>
              <a:gd name="T66" fmla="*/ 314 w 559"/>
              <a:gd name="T67" fmla="*/ 419 h 838"/>
              <a:gd name="T68" fmla="*/ 349 w 559"/>
              <a:gd name="T69" fmla="*/ 419 h 838"/>
              <a:gd name="T70" fmla="*/ 489 w 559"/>
              <a:gd name="T71" fmla="*/ 279 h 838"/>
              <a:gd name="T72" fmla="*/ 349 w 559"/>
              <a:gd name="T73" fmla="*/ 140 h 838"/>
              <a:gd name="T74" fmla="*/ 489 w 559"/>
              <a:gd name="T75" fmla="*/ 768 h 838"/>
              <a:gd name="T76" fmla="*/ 317 w 559"/>
              <a:gd name="T77" fmla="*/ 768 h 838"/>
              <a:gd name="T78" fmla="*/ 70 w 559"/>
              <a:gd name="T79" fmla="*/ 522 h 838"/>
              <a:gd name="T80" fmla="*/ 70 w 559"/>
              <a:gd name="T81" fmla="*/ 279 h 838"/>
              <a:gd name="T82" fmla="*/ 279 w 559"/>
              <a:gd name="T83" fmla="*/ 70 h 838"/>
              <a:gd name="T84" fmla="*/ 489 w 559"/>
              <a:gd name="T85" fmla="*/ 279 h 838"/>
              <a:gd name="T86" fmla="*/ 489 w 559"/>
              <a:gd name="T87" fmla="*/ 768 h 838"/>
              <a:gd name="T88" fmla="*/ 279 w 559"/>
              <a:gd name="T89" fmla="*/ 0 h 838"/>
              <a:gd name="T90" fmla="*/ 0 w 559"/>
              <a:gd name="T91" fmla="*/ 279 h 838"/>
              <a:gd name="T92" fmla="*/ 0 w 559"/>
              <a:gd name="T93" fmla="*/ 522 h 838"/>
              <a:gd name="T94" fmla="*/ 317 w 559"/>
              <a:gd name="T95" fmla="*/ 838 h 838"/>
              <a:gd name="T96" fmla="*/ 559 w 559"/>
              <a:gd name="T97" fmla="*/ 838 h 838"/>
              <a:gd name="T98" fmla="*/ 559 w 559"/>
              <a:gd name="T99" fmla="*/ 279 h 838"/>
              <a:gd name="T100" fmla="*/ 279 w 559"/>
              <a:gd name="T101" fmla="*/ 0 h 8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59" h="838">
                <a:moveTo>
                  <a:pt x="315" y="314"/>
                </a:moveTo>
                <a:lnTo>
                  <a:pt x="384" y="314"/>
                </a:lnTo>
                <a:lnTo>
                  <a:pt x="384" y="244"/>
                </a:lnTo>
                <a:lnTo>
                  <a:pt x="315" y="244"/>
                </a:lnTo>
                <a:lnTo>
                  <a:pt x="315" y="314"/>
                </a:lnTo>
                <a:close/>
                <a:moveTo>
                  <a:pt x="175" y="314"/>
                </a:moveTo>
                <a:lnTo>
                  <a:pt x="245" y="314"/>
                </a:lnTo>
                <a:lnTo>
                  <a:pt x="245" y="244"/>
                </a:lnTo>
                <a:lnTo>
                  <a:pt x="175" y="244"/>
                </a:lnTo>
                <a:lnTo>
                  <a:pt x="175" y="314"/>
                </a:lnTo>
                <a:close/>
                <a:moveTo>
                  <a:pt x="175" y="524"/>
                </a:moveTo>
                <a:lnTo>
                  <a:pt x="105" y="524"/>
                </a:lnTo>
                <a:cubicBezTo>
                  <a:pt x="105" y="628"/>
                  <a:pt x="210" y="733"/>
                  <a:pt x="314" y="733"/>
                </a:cubicBezTo>
                <a:lnTo>
                  <a:pt x="314" y="663"/>
                </a:lnTo>
                <a:cubicBezTo>
                  <a:pt x="245" y="663"/>
                  <a:pt x="175" y="594"/>
                  <a:pt x="175" y="524"/>
                </a:cubicBezTo>
                <a:close/>
                <a:moveTo>
                  <a:pt x="349" y="349"/>
                </a:moveTo>
                <a:lnTo>
                  <a:pt x="210" y="349"/>
                </a:lnTo>
                <a:cubicBezTo>
                  <a:pt x="171" y="349"/>
                  <a:pt x="140" y="318"/>
                  <a:pt x="140" y="279"/>
                </a:cubicBezTo>
                <a:cubicBezTo>
                  <a:pt x="140" y="241"/>
                  <a:pt x="171" y="209"/>
                  <a:pt x="210" y="209"/>
                </a:cubicBezTo>
                <a:cubicBezTo>
                  <a:pt x="227" y="209"/>
                  <a:pt x="243" y="216"/>
                  <a:pt x="256" y="228"/>
                </a:cubicBezTo>
                <a:lnTo>
                  <a:pt x="280" y="249"/>
                </a:lnTo>
                <a:lnTo>
                  <a:pt x="303" y="228"/>
                </a:lnTo>
                <a:cubicBezTo>
                  <a:pt x="316" y="216"/>
                  <a:pt x="332" y="209"/>
                  <a:pt x="349" y="209"/>
                </a:cubicBezTo>
                <a:cubicBezTo>
                  <a:pt x="388" y="209"/>
                  <a:pt x="419" y="241"/>
                  <a:pt x="419" y="279"/>
                </a:cubicBezTo>
                <a:cubicBezTo>
                  <a:pt x="419" y="318"/>
                  <a:pt x="388" y="349"/>
                  <a:pt x="349" y="349"/>
                </a:cubicBezTo>
                <a:close/>
                <a:moveTo>
                  <a:pt x="349" y="140"/>
                </a:moveTo>
                <a:cubicBezTo>
                  <a:pt x="325" y="140"/>
                  <a:pt x="301" y="146"/>
                  <a:pt x="280" y="159"/>
                </a:cubicBezTo>
                <a:cubicBezTo>
                  <a:pt x="258" y="146"/>
                  <a:pt x="234" y="140"/>
                  <a:pt x="210" y="140"/>
                </a:cubicBezTo>
                <a:cubicBezTo>
                  <a:pt x="133" y="140"/>
                  <a:pt x="70" y="202"/>
                  <a:pt x="70" y="279"/>
                </a:cubicBezTo>
                <a:cubicBezTo>
                  <a:pt x="70" y="356"/>
                  <a:pt x="133" y="419"/>
                  <a:pt x="210" y="419"/>
                </a:cubicBezTo>
                <a:lnTo>
                  <a:pt x="245" y="419"/>
                </a:lnTo>
                <a:lnTo>
                  <a:pt x="245" y="454"/>
                </a:lnTo>
                <a:lnTo>
                  <a:pt x="314" y="454"/>
                </a:lnTo>
                <a:lnTo>
                  <a:pt x="314" y="419"/>
                </a:lnTo>
                <a:lnTo>
                  <a:pt x="349" y="419"/>
                </a:lnTo>
                <a:cubicBezTo>
                  <a:pt x="426" y="419"/>
                  <a:pt x="489" y="356"/>
                  <a:pt x="489" y="279"/>
                </a:cubicBezTo>
                <a:cubicBezTo>
                  <a:pt x="489" y="202"/>
                  <a:pt x="426" y="140"/>
                  <a:pt x="349" y="140"/>
                </a:cubicBezTo>
                <a:close/>
                <a:moveTo>
                  <a:pt x="489" y="768"/>
                </a:moveTo>
                <a:lnTo>
                  <a:pt x="317" y="768"/>
                </a:lnTo>
                <a:cubicBezTo>
                  <a:pt x="181" y="768"/>
                  <a:pt x="70" y="658"/>
                  <a:pt x="70" y="522"/>
                </a:cubicBezTo>
                <a:lnTo>
                  <a:pt x="70" y="279"/>
                </a:lnTo>
                <a:cubicBezTo>
                  <a:pt x="70" y="164"/>
                  <a:pt x="164" y="70"/>
                  <a:pt x="279" y="70"/>
                </a:cubicBezTo>
                <a:cubicBezTo>
                  <a:pt x="395" y="70"/>
                  <a:pt x="489" y="164"/>
                  <a:pt x="489" y="279"/>
                </a:cubicBezTo>
                <a:lnTo>
                  <a:pt x="489" y="768"/>
                </a:lnTo>
                <a:close/>
                <a:moveTo>
                  <a:pt x="279" y="0"/>
                </a:moveTo>
                <a:cubicBezTo>
                  <a:pt x="125" y="0"/>
                  <a:pt x="0" y="125"/>
                  <a:pt x="0" y="279"/>
                </a:cubicBezTo>
                <a:lnTo>
                  <a:pt x="0" y="522"/>
                </a:lnTo>
                <a:cubicBezTo>
                  <a:pt x="0" y="696"/>
                  <a:pt x="142" y="838"/>
                  <a:pt x="317" y="838"/>
                </a:cubicBezTo>
                <a:lnTo>
                  <a:pt x="559" y="838"/>
                </a:lnTo>
                <a:lnTo>
                  <a:pt x="559" y="279"/>
                </a:lnTo>
                <a:cubicBezTo>
                  <a:pt x="559" y="125"/>
                  <a:pt x="433" y="0"/>
                  <a:pt x="279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2" name="Freeform 40"/>
          <p:cNvSpPr>
            <a:spLocks noEditPoints="1"/>
          </p:cNvSpPr>
          <p:nvPr/>
        </p:nvSpPr>
        <p:spPr bwMode="auto">
          <a:xfrm>
            <a:off x="3585527" y="1831707"/>
            <a:ext cx="588580" cy="492248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3" name="Freeform 41"/>
          <p:cNvSpPr>
            <a:spLocks/>
          </p:cNvSpPr>
          <p:nvPr/>
        </p:nvSpPr>
        <p:spPr bwMode="auto">
          <a:xfrm>
            <a:off x="9471322" y="1819702"/>
            <a:ext cx="591581" cy="516260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97" name="Группа 96"/>
          <p:cNvGrpSpPr/>
          <p:nvPr/>
        </p:nvGrpSpPr>
        <p:grpSpPr>
          <a:xfrm>
            <a:off x="9501352" y="538285"/>
            <a:ext cx="546537" cy="591303"/>
            <a:chOff x="477468" y="2705515"/>
            <a:chExt cx="409903" cy="443477"/>
          </a:xfrm>
        </p:grpSpPr>
        <p:sp>
          <p:nvSpPr>
            <p:cNvPr id="64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65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66" name="Freeform 44"/>
          <p:cNvSpPr>
            <a:spLocks noEditPoints="1"/>
          </p:cNvSpPr>
          <p:nvPr/>
        </p:nvSpPr>
        <p:spPr bwMode="auto">
          <a:xfrm>
            <a:off x="10966795" y="509538"/>
            <a:ext cx="573565" cy="621313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5"/>
          <p:cNvSpPr>
            <a:spLocks noEditPoints="1"/>
          </p:cNvSpPr>
          <p:nvPr/>
        </p:nvSpPr>
        <p:spPr bwMode="auto">
          <a:xfrm>
            <a:off x="630619" y="1794187"/>
            <a:ext cx="588580" cy="567288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8" name="Freeform 46"/>
          <p:cNvSpPr>
            <a:spLocks noEditPoints="1"/>
          </p:cNvSpPr>
          <p:nvPr/>
        </p:nvSpPr>
        <p:spPr bwMode="auto">
          <a:xfrm>
            <a:off x="2195162" y="1780680"/>
            <a:ext cx="411407" cy="594301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0" name="Freeform 48"/>
          <p:cNvSpPr>
            <a:spLocks noEditPoints="1"/>
          </p:cNvSpPr>
          <p:nvPr/>
        </p:nvSpPr>
        <p:spPr bwMode="auto">
          <a:xfrm>
            <a:off x="5065986" y="538051"/>
            <a:ext cx="582575" cy="564285"/>
          </a:xfrm>
          <a:custGeom>
            <a:avLst/>
            <a:gdLst>
              <a:gd name="T0" fmla="*/ 388 w 848"/>
              <a:gd name="T1" fmla="*/ 486 h 821"/>
              <a:gd name="T2" fmla="*/ 291 w 848"/>
              <a:gd name="T3" fmla="*/ 583 h 821"/>
              <a:gd name="T4" fmla="*/ 342 w 848"/>
              <a:gd name="T5" fmla="*/ 634 h 821"/>
              <a:gd name="T6" fmla="*/ 460 w 848"/>
              <a:gd name="T7" fmla="*/ 516 h 821"/>
              <a:gd name="T8" fmla="*/ 460 w 848"/>
              <a:gd name="T9" fmla="*/ 267 h 821"/>
              <a:gd name="T10" fmla="*/ 388 w 848"/>
              <a:gd name="T11" fmla="*/ 267 h 821"/>
              <a:gd name="T12" fmla="*/ 388 w 848"/>
              <a:gd name="T13" fmla="*/ 486 h 821"/>
              <a:gd name="T14" fmla="*/ 172 w 848"/>
              <a:gd name="T15" fmla="*/ 118 h 821"/>
              <a:gd name="T16" fmla="*/ 259 w 848"/>
              <a:gd name="T17" fmla="*/ 69 h 821"/>
              <a:gd name="T18" fmla="*/ 231 w 848"/>
              <a:gd name="T19" fmla="*/ 3 h 821"/>
              <a:gd name="T20" fmla="*/ 130 w 848"/>
              <a:gd name="T21" fmla="*/ 60 h 821"/>
              <a:gd name="T22" fmla="*/ 0 w 848"/>
              <a:gd name="T23" fmla="*/ 195 h 821"/>
              <a:gd name="T24" fmla="*/ 60 w 848"/>
              <a:gd name="T25" fmla="*/ 234 h 821"/>
              <a:gd name="T26" fmla="*/ 172 w 848"/>
              <a:gd name="T27" fmla="*/ 118 h 821"/>
              <a:gd name="T28" fmla="*/ 719 w 848"/>
              <a:gd name="T29" fmla="*/ 57 h 821"/>
              <a:gd name="T30" fmla="*/ 617 w 848"/>
              <a:gd name="T31" fmla="*/ 0 h 821"/>
              <a:gd name="T32" fmla="*/ 590 w 848"/>
              <a:gd name="T33" fmla="*/ 66 h 821"/>
              <a:gd name="T34" fmla="*/ 677 w 848"/>
              <a:gd name="T35" fmla="*/ 115 h 821"/>
              <a:gd name="T36" fmla="*/ 788 w 848"/>
              <a:gd name="T37" fmla="*/ 234 h 821"/>
              <a:gd name="T38" fmla="*/ 848 w 848"/>
              <a:gd name="T39" fmla="*/ 196 h 821"/>
              <a:gd name="T40" fmla="*/ 719 w 848"/>
              <a:gd name="T41" fmla="*/ 57 h 821"/>
              <a:gd name="T42" fmla="*/ 424 w 848"/>
              <a:gd name="T43" fmla="*/ 749 h 821"/>
              <a:gd name="T44" fmla="*/ 138 w 848"/>
              <a:gd name="T45" fmla="*/ 463 h 821"/>
              <a:gd name="T46" fmla="*/ 424 w 848"/>
              <a:gd name="T47" fmla="*/ 176 h 821"/>
              <a:gd name="T48" fmla="*/ 711 w 848"/>
              <a:gd name="T49" fmla="*/ 463 h 821"/>
              <a:gd name="T50" fmla="*/ 424 w 848"/>
              <a:gd name="T51" fmla="*/ 749 h 821"/>
              <a:gd name="T52" fmla="*/ 424 w 848"/>
              <a:gd name="T53" fmla="*/ 105 h 821"/>
              <a:gd name="T54" fmla="*/ 66 w 848"/>
              <a:gd name="T55" fmla="*/ 463 h 821"/>
              <a:gd name="T56" fmla="*/ 424 w 848"/>
              <a:gd name="T57" fmla="*/ 821 h 821"/>
              <a:gd name="T58" fmla="*/ 782 w 848"/>
              <a:gd name="T59" fmla="*/ 463 h 821"/>
              <a:gd name="T60" fmla="*/ 424 w 848"/>
              <a:gd name="T61" fmla="*/ 105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848" h="821">
                <a:moveTo>
                  <a:pt x="388" y="486"/>
                </a:moveTo>
                <a:lnTo>
                  <a:pt x="291" y="583"/>
                </a:lnTo>
                <a:lnTo>
                  <a:pt x="342" y="634"/>
                </a:lnTo>
                <a:lnTo>
                  <a:pt x="460" y="516"/>
                </a:lnTo>
                <a:lnTo>
                  <a:pt x="460" y="267"/>
                </a:lnTo>
                <a:lnTo>
                  <a:pt x="388" y="267"/>
                </a:lnTo>
                <a:lnTo>
                  <a:pt x="388" y="486"/>
                </a:lnTo>
                <a:close/>
                <a:moveTo>
                  <a:pt x="172" y="118"/>
                </a:moveTo>
                <a:cubicBezTo>
                  <a:pt x="199" y="98"/>
                  <a:pt x="228" y="82"/>
                  <a:pt x="259" y="69"/>
                </a:cubicBezTo>
                <a:lnTo>
                  <a:pt x="231" y="3"/>
                </a:lnTo>
                <a:cubicBezTo>
                  <a:pt x="195" y="18"/>
                  <a:pt x="161" y="37"/>
                  <a:pt x="130" y="60"/>
                </a:cubicBezTo>
                <a:cubicBezTo>
                  <a:pt x="76" y="98"/>
                  <a:pt x="33" y="144"/>
                  <a:pt x="0" y="195"/>
                </a:cubicBezTo>
                <a:lnTo>
                  <a:pt x="60" y="234"/>
                </a:lnTo>
                <a:cubicBezTo>
                  <a:pt x="89" y="190"/>
                  <a:pt x="126" y="151"/>
                  <a:pt x="172" y="118"/>
                </a:cubicBezTo>
                <a:close/>
                <a:moveTo>
                  <a:pt x="719" y="57"/>
                </a:moveTo>
                <a:cubicBezTo>
                  <a:pt x="687" y="34"/>
                  <a:pt x="653" y="15"/>
                  <a:pt x="617" y="0"/>
                </a:cubicBezTo>
                <a:lnTo>
                  <a:pt x="590" y="66"/>
                </a:lnTo>
                <a:cubicBezTo>
                  <a:pt x="620" y="79"/>
                  <a:pt x="650" y="95"/>
                  <a:pt x="677" y="115"/>
                </a:cubicBezTo>
                <a:cubicBezTo>
                  <a:pt x="721" y="147"/>
                  <a:pt x="758" y="187"/>
                  <a:pt x="788" y="234"/>
                </a:cubicBezTo>
                <a:lnTo>
                  <a:pt x="848" y="196"/>
                </a:lnTo>
                <a:cubicBezTo>
                  <a:pt x="814" y="141"/>
                  <a:pt x="770" y="95"/>
                  <a:pt x="719" y="57"/>
                </a:cubicBezTo>
                <a:close/>
                <a:moveTo>
                  <a:pt x="424" y="749"/>
                </a:moveTo>
                <a:cubicBezTo>
                  <a:pt x="266" y="749"/>
                  <a:pt x="138" y="621"/>
                  <a:pt x="138" y="463"/>
                </a:cubicBezTo>
                <a:cubicBezTo>
                  <a:pt x="138" y="305"/>
                  <a:pt x="266" y="176"/>
                  <a:pt x="424" y="176"/>
                </a:cubicBezTo>
                <a:cubicBezTo>
                  <a:pt x="582" y="176"/>
                  <a:pt x="711" y="305"/>
                  <a:pt x="711" y="463"/>
                </a:cubicBezTo>
                <a:cubicBezTo>
                  <a:pt x="711" y="621"/>
                  <a:pt x="582" y="749"/>
                  <a:pt x="424" y="749"/>
                </a:cubicBezTo>
                <a:close/>
                <a:moveTo>
                  <a:pt x="424" y="105"/>
                </a:moveTo>
                <a:cubicBezTo>
                  <a:pt x="227" y="105"/>
                  <a:pt x="66" y="265"/>
                  <a:pt x="66" y="463"/>
                </a:cubicBezTo>
                <a:cubicBezTo>
                  <a:pt x="66" y="660"/>
                  <a:pt x="227" y="821"/>
                  <a:pt x="424" y="821"/>
                </a:cubicBezTo>
                <a:cubicBezTo>
                  <a:pt x="622" y="821"/>
                  <a:pt x="782" y="660"/>
                  <a:pt x="782" y="463"/>
                </a:cubicBezTo>
                <a:cubicBezTo>
                  <a:pt x="782" y="265"/>
                  <a:pt x="622" y="105"/>
                  <a:pt x="424" y="10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1" name="Freeform 49"/>
          <p:cNvSpPr>
            <a:spLocks noEditPoints="1"/>
          </p:cNvSpPr>
          <p:nvPr/>
        </p:nvSpPr>
        <p:spPr bwMode="auto">
          <a:xfrm>
            <a:off x="3645588" y="524545"/>
            <a:ext cx="471465" cy="591300"/>
          </a:xfrm>
          <a:custGeom>
            <a:avLst/>
            <a:gdLst>
              <a:gd name="T0" fmla="*/ 358 w 687"/>
              <a:gd name="T1" fmla="*/ 718 h 859"/>
              <a:gd name="T2" fmla="*/ 170 w 687"/>
              <a:gd name="T3" fmla="*/ 456 h 859"/>
              <a:gd name="T4" fmla="*/ 170 w 687"/>
              <a:gd name="T5" fmla="*/ 456 h 859"/>
              <a:gd name="T6" fmla="*/ 154 w 687"/>
              <a:gd name="T7" fmla="*/ 439 h 859"/>
              <a:gd name="T8" fmla="*/ 154 w 687"/>
              <a:gd name="T9" fmla="*/ 439 h 859"/>
              <a:gd name="T10" fmla="*/ 72 w 687"/>
              <a:gd name="T11" fmla="*/ 322 h 859"/>
              <a:gd name="T12" fmla="*/ 144 w 687"/>
              <a:gd name="T13" fmla="*/ 250 h 859"/>
              <a:gd name="T14" fmla="*/ 204 w 687"/>
              <a:gd name="T15" fmla="*/ 361 h 859"/>
              <a:gd name="T16" fmla="*/ 194 w 687"/>
              <a:gd name="T17" fmla="*/ 376 h 859"/>
              <a:gd name="T18" fmla="*/ 235 w 687"/>
              <a:gd name="T19" fmla="*/ 421 h 859"/>
              <a:gd name="T20" fmla="*/ 428 w 687"/>
              <a:gd name="T21" fmla="*/ 313 h 859"/>
              <a:gd name="T22" fmla="*/ 358 w 687"/>
              <a:gd name="T23" fmla="*/ 718 h 859"/>
              <a:gd name="T24" fmla="*/ 466 w 687"/>
              <a:gd name="T25" fmla="*/ 71 h 859"/>
              <a:gd name="T26" fmla="*/ 530 w 687"/>
              <a:gd name="T27" fmla="*/ 175 h 859"/>
              <a:gd name="T28" fmla="*/ 286 w 687"/>
              <a:gd name="T29" fmla="*/ 310 h 859"/>
              <a:gd name="T30" fmla="*/ 217 w 687"/>
              <a:gd name="T31" fmla="*/ 199 h 859"/>
              <a:gd name="T32" fmla="*/ 466 w 687"/>
              <a:gd name="T33" fmla="*/ 71 h 859"/>
              <a:gd name="T34" fmla="*/ 493 w 687"/>
              <a:gd name="T35" fmla="*/ 277 h 859"/>
              <a:gd name="T36" fmla="*/ 581 w 687"/>
              <a:gd name="T37" fmla="*/ 228 h 859"/>
              <a:gd name="T38" fmla="*/ 466 w 687"/>
              <a:gd name="T39" fmla="*/ 0 h 859"/>
              <a:gd name="T40" fmla="*/ 396 w 687"/>
              <a:gd name="T41" fmla="*/ 17 h 859"/>
              <a:gd name="T42" fmla="*/ 74 w 687"/>
              <a:gd name="T43" fmla="*/ 197 h 859"/>
              <a:gd name="T44" fmla="*/ 74 w 687"/>
              <a:gd name="T45" fmla="*/ 197 h 859"/>
              <a:gd name="T46" fmla="*/ 0 w 687"/>
              <a:gd name="T47" fmla="*/ 322 h 859"/>
              <a:gd name="T48" fmla="*/ 38 w 687"/>
              <a:gd name="T49" fmla="*/ 419 h 859"/>
              <a:gd name="T50" fmla="*/ 85 w 687"/>
              <a:gd name="T51" fmla="*/ 469 h 859"/>
              <a:gd name="T52" fmla="*/ 254 w 687"/>
              <a:gd name="T53" fmla="*/ 652 h 859"/>
              <a:gd name="T54" fmla="*/ 287 w 687"/>
              <a:gd name="T55" fmla="*/ 716 h 859"/>
              <a:gd name="T56" fmla="*/ 250 w 687"/>
              <a:gd name="T57" fmla="*/ 778 h 859"/>
              <a:gd name="T58" fmla="*/ 250 w 687"/>
              <a:gd name="T59" fmla="*/ 778 h 859"/>
              <a:gd name="T60" fmla="*/ 167 w 687"/>
              <a:gd name="T61" fmla="*/ 664 h 859"/>
              <a:gd name="T62" fmla="*/ 118 w 687"/>
              <a:gd name="T63" fmla="*/ 611 h 859"/>
              <a:gd name="T64" fmla="*/ 215 w 687"/>
              <a:gd name="T65" fmla="*/ 859 h 859"/>
              <a:gd name="T66" fmla="*/ 285 w 687"/>
              <a:gd name="T67" fmla="*/ 841 h 859"/>
              <a:gd name="T68" fmla="*/ 285 w 687"/>
              <a:gd name="T69" fmla="*/ 841 h 859"/>
              <a:gd name="T70" fmla="*/ 607 w 687"/>
              <a:gd name="T71" fmla="*/ 662 h 859"/>
              <a:gd name="T72" fmla="*/ 681 w 687"/>
              <a:gd name="T73" fmla="*/ 537 h 859"/>
              <a:gd name="T74" fmla="*/ 493 w 687"/>
              <a:gd name="T75" fmla="*/ 277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687" h="859">
                <a:moveTo>
                  <a:pt x="358" y="718"/>
                </a:moveTo>
                <a:cubicBezTo>
                  <a:pt x="359" y="645"/>
                  <a:pt x="329" y="628"/>
                  <a:pt x="170" y="456"/>
                </a:cubicBezTo>
                <a:lnTo>
                  <a:pt x="170" y="456"/>
                </a:lnTo>
                <a:lnTo>
                  <a:pt x="154" y="439"/>
                </a:lnTo>
                <a:lnTo>
                  <a:pt x="154" y="439"/>
                </a:lnTo>
                <a:cubicBezTo>
                  <a:pt x="89" y="368"/>
                  <a:pt x="72" y="358"/>
                  <a:pt x="72" y="322"/>
                </a:cubicBezTo>
                <a:cubicBezTo>
                  <a:pt x="72" y="281"/>
                  <a:pt x="105" y="250"/>
                  <a:pt x="144" y="250"/>
                </a:cubicBezTo>
                <a:cubicBezTo>
                  <a:pt x="200" y="250"/>
                  <a:pt x="235" y="312"/>
                  <a:pt x="204" y="361"/>
                </a:cubicBezTo>
                <a:lnTo>
                  <a:pt x="194" y="376"/>
                </a:lnTo>
                <a:lnTo>
                  <a:pt x="235" y="421"/>
                </a:lnTo>
                <a:lnTo>
                  <a:pt x="428" y="313"/>
                </a:lnTo>
                <a:cubicBezTo>
                  <a:pt x="681" y="586"/>
                  <a:pt x="687" y="535"/>
                  <a:pt x="358" y="718"/>
                </a:cubicBezTo>
                <a:close/>
                <a:moveTo>
                  <a:pt x="466" y="71"/>
                </a:moveTo>
                <a:cubicBezTo>
                  <a:pt x="518" y="71"/>
                  <a:pt x="554" y="126"/>
                  <a:pt x="530" y="175"/>
                </a:cubicBezTo>
                <a:lnTo>
                  <a:pt x="286" y="310"/>
                </a:lnTo>
                <a:cubicBezTo>
                  <a:pt x="282" y="263"/>
                  <a:pt x="256" y="222"/>
                  <a:pt x="217" y="199"/>
                </a:cubicBezTo>
                <a:cubicBezTo>
                  <a:pt x="436" y="78"/>
                  <a:pt x="437" y="71"/>
                  <a:pt x="466" y="71"/>
                </a:cubicBezTo>
                <a:close/>
                <a:moveTo>
                  <a:pt x="493" y="277"/>
                </a:moveTo>
                <a:lnTo>
                  <a:pt x="581" y="228"/>
                </a:lnTo>
                <a:cubicBezTo>
                  <a:pt x="655" y="113"/>
                  <a:pt x="568" y="0"/>
                  <a:pt x="466" y="0"/>
                </a:cubicBezTo>
                <a:cubicBezTo>
                  <a:pt x="443" y="0"/>
                  <a:pt x="419" y="5"/>
                  <a:pt x="396" y="17"/>
                </a:cubicBezTo>
                <a:lnTo>
                  <a:pt x="74" y="197"/>
                </a:lnTo>
                <a:lnTo>
                  <a:pt x="74" y="197"/>
                </a:lnTo>
                <a:cubicBezTo>
                  <a:pt x="26" y="223"/>
                  <a:pt x="0" y="272"/>
                  <a:pt x="0" y="322"/>
                </a:cubicBezTo>
                <a:cubicBezTo>
                  <a:pt x="0" y="356"/>
                  <a:pt x="13" y="391"/>
                  <a:pt x="38" y="419"/>
                </a:cubicBezTo>
                <a:lnTo>
                  <a:pt x="85" y="469"/>
                </a:lnTo>
                <a:lnTo>
                  <a:pt x="254" y="652"/>
                </a:lnTo>
                <a:cubicBezTo>
                  <a:pt x="273" y="673"/>
                  <a:pt x="287" y="685"/>
                  <a:pt x="287" y="716"/>
                </a:cubicBezTo>
                <a:cubicBezTo>
                  <a:pt x="287" y="743"/>
                  <a:pt x="272" y="766"/>
                  <a:pt x="250" y="778"/>
                </a:cubicBezTo>
                <a:lnTo>
                  <a:pt x="250" y="778"/>
                </a:lnTo>
                <a:cubicBezTo>
                  <a:pt x="177" y="819"/>
                  <a:pt x="105" y="721"/>
                  <a:pt x="167" y="664"/>
                </a:cubicBezTo>
                <a:lnTo>
                  <a:pt x="118" y="611"/>
                </a:lnTo>
                <a:cubicBezTo>
                  <a:pt x="18" y="704"/>
                  <a:pt x="96" y="859"/>
                  <a:pt x="215" y="859"/>
                </a:cubicBezTo>
                <a:cubicBezTo>
                  <a:pt x="237" y="859"/>
                  <a:pt x="261" y="853"/>
                  <a:pt x="285" y="841"/>
                </a:cubicBezTo>
                <a:lnTo>
                  <a:pt x="285" y="841"/>
                </a:lnTo>
                <a:lnTo>
                  <a:pt x="607" y="662"/>
                </a:lnTo>
                <a:cubicBezTo>
                  <a:pt x="652" y="637"/>
                  <a:pt x="681" y="589"/>
                  <a:pt x="681" y="537"/>
                </a:cubicBezTo>
                <a:cubicBezTo>
                  <a:pt x="681" y="464"/>
                  <a:pt x="647" y="444"/>
                  <a:pt x="493" y="27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4" name="Freeform 52"/>
          <p:cNvSpPr>
            <a:spLocks noEditPoints="1"/>
          </p:cNvSpPr>
          <p:nvPr/>
        </p:nvSpPr>
        <p:spPr bwMode="auto">
          <a:xfrm>
            <a:off x="6540438" y="1780680"/>
            <a:ext cx="576567" cy="59430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5" name="Freeform 53"/>
          <p:cNvSpPr>
            <a:spLocks noEditPoints="1"/>
          </p:cNvSpPr>
          <p:nvPr/>
        </p:nvSpPr>
        <p:spPr bwMode="auto">
          <a:xfrm>
            <a:off x="5050971" y="1810696"/>
            <a:ext cx="612604" cy="534269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7" name="Freeform 55"/>
          <p:cNvSpPr>
            <a:spLocks noEditPoints="1"/>
          </p:cNvSpPr>
          <p:nvPr/>
        </p:nvSpPr>
        <p:spPr bwMode="auto">
          <a:xfrm>
            <a:off x="630619" y="562065"/>
            <a:ext cx="588580" cy="516260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3" name="Freeform 71"/>
          <p:cNvSpPr>
            <a:spLocks noEditPoints="1"/>
          </p:cNvSpPr>
          <p:nvPr/>
        </p:nvSpPr>
        <p:spPr bwMode="auto">
          <a:xfrm>
            <a:off x="6540438" y="532048"/>
            <a:ext cx="588580" cy="576291"/>
          </a:xfrm>
          <a:custGeom>
            <a:avLst/>
            <a:gdLst>
              <a:gd name="T0" fmla="*/ 394 w 859"/>
              <a:gd name="T1" fmla="*/ 227 h 836"/>
              <a:gd name="T2" fmla="*/ 465 w 859"/>
              <a:gd name="T3" fmla="*/ 299 h 836"/>
              <a:gd name="T4" fmla="*/ 465 w 859"/>
              <a:gd name="T5" fmla="*/ 836 h 836"/>
              <a:gd name="T6" fmla="*/ 535 w 859"/>
              <a:gd name="T7" fmla="*/ 371 h 836"/>
              <a:gd name="T8" fmla="*/ 465 w 859"/>
              <a:gd name="T9" fmla="*/ 836 h 836"/>
              <a:gd name="T10" fmla="*/ 394 w 859"/>
              <a:gd name="T11" fmla="*/ 836 h 836"/>
              <a:gd name="T12" fmla="*/ 324 w 859"/>
              <a:gd name="T13" fmla="*/ 371 h 836"/>
              <a:gd name="T14" fmla="*/ 215 w 859"/>
              <a:gd name="T15" fmla="*/ 172 h 836"/>
              <a:gd name="T16" fmla="*/ 286 w 859"/>
              <a:gd name="T17" fmla="*/ 836 h 836"/>
              <a:gd name="T18" fmla="*/ 430 w 859"/>
              <a:gd name="T19" fmla="*/ 92 h 836"/>
              <a:gd name="T20" fmla="*/ 573 w 859"/>
              <a:gd name="T21" fmla="*/ 836 h 836"/>
              <a:gd name="T22" fmla="*/ 645 w 859"/>
              <a:gd name="T23" fmla="*/ 172 h 836"/>
              <a:gd name="T24" fmla="*/ 215 w 859"/>
              <a:gd name="T25" fmla="*/ 172 h 836"/>
              <a:gd name="T26" fmla="*/ 752 w 859"/>
              <a:gd name="T27" fmla="*/ 800 h 836"/>
              <a:gd name="T28" fmla="*/ 680 w 859"/>
              <a:gd name="T29" fmla="*/ 729 h 836"/>
              <a:gd name="T30" fmla="*/ 680 w 859"/>
              <a:gd name="T31" fmla="*/ 657 h 836"/>
              <a:gd name="T32" fmla="*/ 752 w 859"/>
              <a:gd name="T33" fmla="*/ 585 h 836"/>
              <a:gd name="T34" fmla="*/ 680 w 859"/>
              <a:gd name="T35" fmla="*/ 657 h 836"/>
              <a:gd name="T36" fmla="*/ 752 w 859"/>
              <a:gd name="T37" fmla="*/ 514 h 836"/>
              <a:gd name="T38" fmla="*/ 680 w 859"/>
              <a:gd name="T39" fmla="*/ 442 h 836"/>
              <a:gd name="T40" fmla="*/ 107 w 859"/>
              <a:gd name="T41" fmla="*/ 800 h 836"/>
              <a:gd name="T42" fmla="*/ 179 w 859"/>
              <a:gd name="T43" fmla="*/ 729 h 836"/>
              <a:gd name="T44" fmla="*/ 107 w 859"/>
              <a:gd name="T45" fmla="*/ 800 h 836"/>
              <a:gd name="T46" fmla="*/ 179 w 859"/>
              <a:gd name="T47" fmla="*/ 657 h 836"/>
              <a:gd name="T48" fmla="*/ 107 w 859"/>
              <a:gd name="T49" fmla="*/ 585 h 836"/>
              <a:gd name="T50" fmla="*/ 107 w 859"/>
              <a:gd name="T51" fmla="*/ 514 h 836"/>
              <a:gd name="T52" fmla="*/ 179 w 859"/>
              <a:gd name="T53" fmla="*/ 442 h 836"/>
              <a:gd name="T54" fmla="*/ 107 w 859"/>
              <a:gd name="T55" fmla="*/ 514 h 836"/>
              <a:gd name="T56" fmla="*/ 680 w 859"/>
              <a:gd name="T57" fmla="*/ 371 h 836"/>
              <a:gd name="T58" fmla="*/ 788 w 859"/>
              <a:gd name="T59" fmla="*/ 836 h 836"/>
              <a:gd name="T60" fmla="*/ 859 w 859"/>
              <a:gd name="T61" fmla="*/ 299 h 836"/>
              <a:gd name="T62" fmla="*/ 0 w 859"/>
              <a:gd name="T63" fmla="*/ 836 h 836"/>
              <a:gd name="T64" fmla="*/ 72 w 859"/>
              <a:gd name="T65" fmla="*/ 371 h 836"/>
              <a:gd name="T66" fmla="*/ 179 w 859"/>
              <a:gd name="T67" fmla="*/ 299 h 836"/>
              <a:gd name="T68" fmla="*/ 0 w 859"/>
              <a:gd name="T69" fmla="*/ 836 h 8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859" h="836">
                <a:moveTo>
                  <a:pt x="465" y="227"/>
                </a:moveTo>
                <a:lnTo>
                  <a:pt x="394" y="227"/>
                </a:lnTo>
                <a:lnTo>
                  <a:pt x="394" y="299"/>
                </a:lnTo>
                <a:lnTo>
                  <a:pt x="465" y="299"/>
                </a:lnTo>
                <a:lnTo>
                  <a:pt x="465" y="227"/>
                </a:lnTo>
                <a:close/>
                <a:moveTo>
                  <a:pt x="465" y="836"/>
                </a:moveTo>
                <a:lnTo>
                  <a:pt x="535" y="836"/>
                </a:lnTo>
                <a:lnTo>
                  <a:pt x="535" y="371"/>
                </a:lnTo>
                <a:lnTo>
                  <a:pt x="465" y="371"/>
                </a:lnTo>
                <a:lnTo>
                  <a:pt x="465" y="836"/>
                </a:lnTo>
                <a:close/>
                <a:moveTo>
                  <a:pt x="324" y="836"/>
                </a:moveTo>
                <a:lnTo>
                  <a:pt x="394" y="836"/>
                </a:lnTo>
                <a:lnTo>
                  <a:pt x="394" y="371"/>
                </a:lnTo>
                <a:lnTo>
                  <a:pt x="324" y="371"/>
                </a:lnTo>
                <a:lnTo>
                  <a:pt x="324" y="836"/>
                </a:lnTo>
                <a:close/>
                <a:moveTo>
                  <a:pt x="215" y="172"/>
                </a:moveTo>
                <a:lnTo>
                  <a:pt x="215" y="836"/>
                </a:lnTo>
                <a:lnTo>
                  <a:pt x="286" y="836"/>
                </a:lnTo>
                <a:lnTo>
                  <a:pt x="286" y="207"/>
                </a:lnTo>
                <a:lnTo>
                  <a:pt x="430" y="92"/>
                </a:lnTo>
                <a:lnTo>
                  <a:pt x="573" y="207"/>
                </a:lnTo>
                <a:lnTo>
                  <a:pt x="573" y="836"/>
                </a:lnTo>
                <a:lnTo>
                  <a:pt x="645" y="836"/>
                </a:lnTo>
                <a:lnTo>
                  <a:pt x="645" y="172"/>
                </a:lnTo>
                <a:lnTo>
                  <a:pt x="430" y="0"/>
                </a:lnTo>
                <a:lnTo>
                  <a:pt x="215" y="172"/>
                </a:lnTo>
                <a:close/>
                <a:moveTo>
                  <a:pt x="680" y="800"/>
                </a:moveTo>
                <a:lnTo>
                  <a:pt x="752" y="800"/>
                </a:lnTo>
                <a:lnTo>
                  <a:pt x="752" y="729"/>
                </a:lnTo>
                <a:lnTo>
                  <a:pt x="680" y="729"/>
                </a:lnTo>
                <a:lnTo>
                  <a:pt x="680" y="800"/>
                </a:lnTo>
                <a:close/>
                <a:moveTo>
                  <a:pt x="680" y="657"/>
                </a:moveTo>
                <a:lnTo>
                  <a:pt x="752" y="657"/>
                </a:lnTo>
                <a:lnTo>
                  <a:pt x="752" y="585"/>
                </a:lnTo>
                <a:lnTo>
                  <a:pt x="680" y="585"/>
                </a:lnTo>
                <a:lnTo>
                  <a:pt x="680" y="657"/>
                </a:lnTo>
                <a:close/>
                <a:moveTo>
                  <a:pt x="680" y="514"/>
                </a:moveTo>
                <a:lnTo>
                  <a:pt x="752" y="514"/>
                </a:lnTo>
                <a:lnTo>
                  <a:pt x="752" y="442"/>
                </a:lnTo>
                <a:lnTo>
                  <a:pt x="680" y="442"/>
                </a:lnTo>
                <a:lnTo>
                  <a:pt x="680" y="514"/>
                </a:lnTo>
                <a:close/>
                <a:moveTo>
                  <a:pt x="107" y="800"/>
                </a:moveTo>
                <a:lnTo>
                  <a:pt x="179" y="800"/>
                </a:lnTo>
                <a:lnTo>
                  <a:pt x="179" y="729"/>
                </a:lnTo>
                <a:lnTo>
                  <a:pt x="107" y="729"/>
                </a:lnTo>
                <a:lnTo>
                  <a:pt x="107" y="800"/>
                </a:lnTo>
                <a:close/>
                <a:moveTo>
                  <a:pt x="107" y="657"/>
                </a:moveTo>
                <a:lnTo>
                  <a:pt x="179" y="657"/>
                </a:lnTo>
                <a:lnTo>
                  <a:pt x="179" y="585"/>
                </a:lnTo>
                <a:lnTo>
                  <a:pt x="107" y="585"/>
                </a:lnTo>
                <a:lnTo>
                  <a:pt x="107" y="657"/>
                </a:lnTo>
                <a:close/>
                <a:moveTo>
                  <a:pt x="107" y="514"/>
                </a:moveTo>
                <a:lnTo>
                  <a:pt x="179" y="514"/>
                </a:lnTo>
                <a:lnTo>
                  <a:pt x="179" y="442"/>
                </a:lnTo>
                <a:lnTo>
                  <a:pt x="107" y="442"/>
                </a:lnTo>
                <a:lnTo>
                  <a:pt x="107" y="514"/>
                </a:lnTo>
                <a:close/>
                <a:moveTo>
                  <a:pt x="680" y="299"/>
                </a:moveTo>
                <a:lnTo>
                  <a:pt x="680" y="371"/>
                </a:lnTo>
                <a:lnTo>
                  <a:pt x="788" y="371"/>
                </a:lnTo>
                <a:lnTo>
                  <a:pt x="788" y="836"/>
                </a:lnTo>
                <a:lnTo>
                  <a:pt x="859" y="836"/>
                </a:lnTo>
                <a:lnTo>
                  <a:pt x="859" y="299"/>
                </a:lnTo>
                <a:lnTo>
                  <a:pt x="680" y="299"/>
                </a:lnTo>
                <a:close/>
                <a:moveTo>
                  <a:pt x="0" y="836"/>
                </a:moveTo>
                <a:lnTo>
                  <a:pt x="72" y="836"/>
                </a:lnTo>
                <a:lnTo>
                  <a:pt x="72" y="371"/>
                </a:lnTo>
                <a:lnTo>
                  <a:pt x="179" y="371"/>
                </a:lnTo>
                <a:lnTo>
                  <a:pt x="179" y="299"/>
                </a:lnTo>
                <a:lnTo>
                  <a:pt x="0" y="299"/>
                </a:lnTo>
                <a:lnTo>
                  <a:pt x="0" y="83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xmlns="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2"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xmlns="" id="{F28B5AF9-254C-449F-805A-200563AB24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xmlns="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67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8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86184" y="6405331"/>
            <a:ext cx="11819633" cy="2871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включая размещение в Интернете и в корпоративных сетях, а также запись в память ЭВМ, для частного или публичного использования, без письменного разрешения владельца авторских прав. © АО «Издательство «Просвещение», 20</a:t>
            </a:r>
            <a:r>
              <a:rPr lang="en-US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1</a:t>
            </a:r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г.</a:t>
            </a:r>
          </a:p>
        </p:txBody>
      </p:sp>
      <p:sp>
        <p:nvSpPr>
          <p:cNvPr id="94" name="Подзаголовок 2"/>
          <p:cNvSpPr txBox="1">
            <a:spLocks/>
          </p:cNvSpPr>
          <p:nvPr/>
        </p:nvSpPr>
        <p:spPr>
          <a:xfrm>
            <a:off x="1849819" y="4748054"/>
            <a:ext cx="8519045" cy="13295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77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ru-RU" sz="1800" b="1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руппа компаний «Просвещение»</a:t>
            </a:r>
          </a:p>
          <a:p>
            <a:pPr marL="0" indent="0" defTabSz="914377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ru-RU" sz="18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Адрес: </a:t>
            </a:r>
            <a:r>
              <a:rPr lang="ru-RU" sz="18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27473, г. Москва, ул. Краснопролетарская, д. 16, стр. 3, подъезд 8, бизнес-центр «Новослободский»</a:t>
            </a:r>
            <a:br>
              <a:rPr lang="ru-RU" sz="18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18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орячая линия: </a:t>
            </a: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vopros</a:t>
            </a:r>
            <a:r>
              <a:rPr lang="ru-RU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@</a:t>
            </a: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prosv</a:t>
            </a:r>
            <a:r>
              <a:rPr lang="ru-RU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.</a:t>
            </a: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ru</a:t>
            </a:r>
            <a:endParaRPr lang="ru-RU" sz="1800" spc="-40" dirty="0">
              <a:solidFill>
                <a:schemeClr val="tx1">
                  <a:lumMod val="75000"/>
                  <a:lumOff val="2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96" name="Рисунок 24">
            <a:hlinkClick r:id="rId9"/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184" y="4735857"/>
            <a:ext cx="1477452" cy="147745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C3E0513C-26B4-0E45-9B7A-902578B92C16}"/>
              </a:ext>
            </a:extLst>
          </p:cNvPr>
          <p:cNvSpPr txBox="1"/>
          <p:nvPr/>
        </p:nvSpPr>
        <p:spPr>
          <a:xfrm>
            <a:off x="339978" y="2923332"/>
            <a:ext cx="560222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Дубинина Софья Петровна </a:t>
            </a:r>
          </a:p>
          <a:p>
            <a:r>
              <a:rPr lang="ru-RU" dirty="0"/>
              <a:t>Ведущий методист </a:t>
            </a:r>
          </a:p>
          <a:p>
            <a:r>
              <a:rPr lang="ru-RU" dirty="0"/>
              <a:t>Центра географии и картографии</a:t>
            </a:r>
          </a:p>
          <a:p>
            <a:r>
              <a:rPr lang="ru-RU" dirty="0"/>
              <a:t>АО «Издательство «Просвещение»</a:t>
            </a:r>
          </a:p>
          <a:p>
            <a:r>
              <a:rPr lang="en-US" dirty="0" err="1"/>
              <a:t>Sdubinina@prosv.ru</a:t>
            </a:r>
            <a:r>
              <a:rPr lang="ru-RU" dirty="0"/>
              <a:t> </a:t>
            </a:r>
          </a:p>
          <a:p>
            <a:endParaRPr lang="ru-RU" dirty="0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F4B5899F-78F3-A645-8217-CCB64B56A046}"/>
              </a:ext>
            </a:extLst>
          </p:cNvPr>
          <p:cNvSpPr/>
          <p:nvPr/>
        </p:nvSpPr>
        <p:spPr>
          <a:xfrm>
            <a:off x="6642456" y="2928289"/>
            <a:ext cx="4229491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hlinkClick r:id="rId11"/>
              </a:rPr>
              <a:t>https://cloud.prosv.ru/s/NGiXx7Kk2Aor7se</a:t>
            </a:r>
            <a:r>
              <a:rPr lang="en-US" dirty="0"/>
              <a:t> </a:t>
            </a:r>
          </a:p>
          <a:p>
            <a:r>
              <a:rPr lang="ru-RU" dirty="0"/>
              <a:t>Хранилище файлов для скачивания 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xmlns="" id="{32C1AE85-A054-584A-B24C-01FF2C3C5953}"/>
              </a:ext>
            </a:extLst>
          </p:cNvPr>
          <p:cNvSpPr/>
          <p:nvPr/>
        </p:nvSpPr>
        <p:spPr>
          <a:xfrm>
            <a:off x="6607464" y="3752141"/>
            <a:ext cx="37614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hlinkClick r:id="rId12"/>
              </a:rPr>
              <a:t>https://vk.com/geodistantprosv</a:t>
            </a:r>
            <a:r>
              <a:rPr lang="ru-RU" dirty="0"/>
              <a:t> </a:t>
            </a:r>
          </a:p>
          <a:p>
            <a:r>
              <a:rPr lang="ru-RU" dirty="0"/>
              <a:t>Группа для учителей географии</a:t>
            </a:r>
          </a:p>
        </p:txBody>
      </p:sp>
    </p:spTree>
    <p:extLst>
      <p:ext uri="{BB962C8B-B14F-4D97-AF65-F5344CB8AC3E}">
        <p14:creationId xmlns:p14="http://schemas.microsoft.com/office/powerpoint/2010/main" val="9415702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65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xmlns="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11375669" y="2257824"/>
            <a:ext cx="812363" cy="754751"/>
          </a:xfrm>
          <a:prstGeom prst="rect">
            <a:avLst/>
          </a:prstGeom>
          <a:solidFill>
            <a:srgbClr val="40D4E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3"/>
          <p:cNvSpPr>
            <a:spLocks noChangeArrowheads="1"/>
          </p:cNvSpPr>
          <p:nvPr/>
        </p:nvSpPr>
        <p:spPr bwMode="auto">
          <a:xfrm>
            <a:off x="11375669" y="5276823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4"/>
          <p:cNvSpPr>
            <a:spLocks noChangeArrowheads="1"/>
          </p:cNvSpPr>
          <p:nvPr/>
        </p:nvSpPr>
        <p:spPr bwMode="auto">
          <a:xfrm>
            <a:off x="11376586" y="4522072"/>
            <a:ext cx="812363" cy="754751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17"/>
          <p:cNvSpPr>
            <a:spLocks noChangeArrowheads="1"/>
          </p:cNvSpPr>
          <p:nvPr/>
        </p:nvSpPr>
        <p:spPr bwMode="auto">
          <a:xfrm>
            <a:off x="11375670" y="-4589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19"/>
          <p:cNvSpPr>
            <a:spLocks noChangeArrowheads="1"/>
          </p:cNvSpPr>
          <p:nvPr/>
        </p:nvSpPr>
        <p:spPr bwMode="auto">
          <a:xfrm>
            <a:off x="11376586" y="3012572"/>
            <a:ext cx="812363" cy="754751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1"/>
          <p:cNvSpPr>
            <a:spLocks noChangeArrowheads="1"/>
          </p:cNvSpPr>
          <p:nvPr/>
        </p:nvSpPr>
        <p:spPr bwMode="auto">
          <a:xfrm>
            <a:off x="11376586" y="6031572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2"/>
          <p:cNvSpPr>
            <a:spLocks noChangeArrowheads="1"/>
          </p:cNvSpPr>
          <p:nvPr/>
        </p:nvSpPr>
        <p:spPr bwMode="auto">
          <a:xfrm>
            <a:off x="11375670" y="1502768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2" name="Rectangle 25"/>
          <p:cNvSpPr>
            <a:spLocks noChangeArrowheads="1"/>
          </p:cNvSpPr>
          <p:nvPr/>
        </p:nvSpPr>
        <p:spPr bwMode="auto">
          <a:xfrm>
            <a:off x="11376586" y="3767322"/>
            <a:ext cx="812363" cy="754751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29"/>
          <p:cNvSpPr>
            <a:spLocks noChangeArrowheads="1"/>
          </p:cNvSpPr>
          <p:nvPr/>
        </p:nvSpPr>
        <p:spPr bwMode="auto">
          <a:xfrm>
            <a:off x="11375670" y="748019"/>
            <a:ext cx="812363" cy="754751"/>
          </a:xfrm>
          <a:prstGeom prst="rect">
            <a:avLst/>
          </a:prstGeom>
          <a:solidFill>
            <a:srgbClr val="9ED44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2"/>
          <p:cNvSpPr>
            <a:spLocks noEditPoints="1"/>
          </p:cNvSpPr>
          <p:nvPr/>
        </p:nvSpPr>
        <p:spPr bwMode="auto">
          <a:xfrm>
            <a:off x="11600809" y="2514255"/>
            <a:ext cx="362085" cy="271895"/>
          </a:xfrm>
          <a:custGeom>
            <a:avLst/>
            <a:gdLst>
              <a:gd name="T0" fmla="*/ 787 w 859"/>
              <a:gd name="T1" fmla="*/ 107 h 644"/>
              <a:gd name="T2" fmla="*/ 787 w 859"/>
              <a:gd name="T3" fmla="*/ 573 h 644"/>
              <a:gd name="T4" fmla="*/ 537 w 859"/>
              <a:gd name="T5" fmla="*/ 573 h 644"/>
              <a:gd name="T6" fmla="*/ 465 w 859"/>
              <a:gd name="T7" fmla="*/ 644 h 644"/>
              <a:gd name="T8" fmla="*/ 859 w 859"/>
              <a:gd name="T9" fmla="*/ 644 h 644"/>
              <a:gd name="T10" fmla="*/ 859 w 859"/>
              <a:gd name="T11" fmla="*/ 107 h 644"/>
              <a:gd name="T12" fmla="*/ 787 w 859"/>
              <a:gd name="T13" fmla="*/ 107 h 644"/>
              <a:gd name="T14" fmla="*/ 476 w 859"/>
              <a:gd name="T15" fmla="*/ 476 h 644"/>
              <a:gd name="T16" fmla="*/ 383 w 859"/>
              <a:gd name="T17" fmla="*/ 476 h 644"/>
              <a:gd name="T18" fmla="*/ 373 w 859"/>
              <a:gd name="T19" fmla="*/ 465 h 644"/>
              <a:gd name="T20" fmla="*/ 179 w 859"/>
              <a:gd name="T21" fmla="*/ 465 h 644"/>
              <a:gd name="T22" fmla="*/ 179 w 859"/>
              <a:gd name="T23" fmla="*/ 71 h 644"/>
              <a:gd name="T24" fmla="*/ 344 w 859"/>
              <a:gd name="T25" fmla="*/ 71 h 644"/>
              <a:gd name="T26" fmla="*/ 393 w 859"/>
              <a:gd name="T27" fmla="*/ 96 h 644"/>
              <a:gd name="T28" fmla="*/ 393 w 859"/>
              <a:gd name="T29" fmla="*/ 358 h 644"/>
              <a:gd name="T30" fmla="*/ 465 w 859"/>
              <a:gd name="T31" fmla="*/ 358 h 644"/>
              <a:gd name="T32" fmla="*/ 465 w 859"/>
              <a:gd name="T33" fmla="*/ 96 h 644"/>
              <a:gd name="T34" fmla="*/ 515 w 859"/>
              <a:gd name="T35" fmla="*/ 71 h 644"/>
              <a:gd name="T36" fmla="*/ 680 w 859"/>
              <a:gd name="T37" fmla="*/ 71 h 644"/>
              <a:gd name="T38" fmla="*/ 680 w 859"/>
              <a:gd name="T39" fmla="*/ 465 h 644"/>
              <a:gd name="T40" fmla="*/ 486 w 859"/>
              <a:gd name="T41" fmla="*/ 465 h 644"/>
              <a:gd name="T42" fmla="*/ 476 w 859"/>
              <a:gd name="T43" fmla="*/ 476 h 644"/>
              <a:gd name="T44" fmla="*/ 752 w 859"/>
              <a:gd name="T45" fmla="*/ 537 h 644"/>
              <a:gd name="T46" fmla="*/ 752 w 859"/>
              <a:gd name="T47" fmla="*/ 0 h 644"/>
              <a:gd name="T48" fmla="*/ 486 w 859"/>
              <a:gd name="T49" fmla="*/ 0 h 644"/>
              <a:gd name="T50" fmla="*/ 476 w 859"/>
              <a:gd name="T51" fmla="*/ 10 h 644"/>
              <a:gd name="T52" fmla="*/ 383 w 859"/>
              <a:gd name="T53" fmla="*/ 10 h 644"/>
              <a:gd name="T54" fmla="*/ 373 w 859"/>
              <a:gd name="T55" fmla="*/ 0 h 644"/>
              <a:gd name="T56" fmla="*/ 107 w 859"/>
              <a:gd name="T57" fmla="*/ 0 h 644"/>
              <a:gd name="T58" fmla="*/ 107 w 859"/>
              <a:gd name="T59" fmla="*/ 537 h 644"/>
              <a:gd name="T60" fmla="*/ 344 w 859"/>
              <a:gd name="T61" fmla="*/ 537 h 644"/>
              <a:gd name="T62" fmla="*/ 429 w 859"/>
              <a:gd name="T63" fmla="*/ 566 h 644"/>
              <a:gd name="T64" fmla="*/ 515 w 859"/>
              <a:gd name="T65" fmla="*/ 537 h 644"/>
              <a:gd name="T66" fmla="*/ 752 w 859"/>
              <a:gd name="T67" fmla="*/ 537 h 644"/>
              <a:gd name="T68" fmla="*/ 71 w 859"/>
              <a:gd name="T69" fmla="*/ 573 h 644"/>
              <a:gd name="T70" fmla="*/ 71 w 859"/>
              <a:gd name="T71" fmla="*/ 107 h 644"/>
              <a:gd name="T72" fmla="*/ 0 w 859"/>
              <a:gd name="T73" fmla="*/ 107 h 644"/>
              <a:gd name="T74" fmla="*/ 0 w 859"/>
              <a:gd name="T75" fmla="*/ 644 h 644"/>
              <a:gd name="T76" fmla="*/ 394 w 859"/>
              <a:gd name="T77" fmla="*/ 644 h 644"/>
              <a:gd name="T78" fmla="*/ 322 w 859"/>
              <a:gd name="T79" fmla="*/ 573 h 644"/>
              <a:gd name="T80" fmla="*/ 71 w 859"/>
              <a:gd name="T81" fmla="*/ 573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9" h="644">
                <a:moveTo>
                  <a:pt x="787" y="107"/>
                </a:moveTo>
                <a:lnTo>
                  <a:pt x="787" y="573"/>
                </a:lnTo>
                <a:lnTo>
                  <a:pt x="537" y="573"/>
                </a:lnTo>
                <a:lnTo>
                  <a:pt x="465" y="644"/>
                </a:lnTo>
                <a:lnTo>
                  <a:pt x="859" y="644"/>
                </a:lnTo>
                <a:lnTo>
                  <a:pt x="859" y="107"/>
                </a:lnTo>
                <a:lnTo>
                  <a:pt x="787" y="107"/>
                </a:lnTo>
                <a:close/>
                <a:moveTo>
                  <a:pt x="476" y="476"/>
                </a:moveTo>
                <a:cubicBezTo>
                  <a:pt x="450" y="501"/>
                  <a:pt x="409" y="501"/>
                  <a:pt x="383" y="476"/>
                </a:cubicBezTo>
                <a:lnTo>
                  <a:pt x="373" y="465"/>
                </a:lnTo>
                <a:lnTo>
                  <a:pt x="179" y="465"/>
                </a:lnTo>
                <a:lnTo>
                  <a:pt x="179" y="71"/>
                </a:lnTo>
                <a:lnTo>
                  <a:pt x="344" y="71"/>
                </a:lnTo>
                <a:cubicBezTo>
                  <a:pt x="359" y="71"/>
                  <a:pt x="393" y="91"/>
                  <a:pt x="393" y="96"/>
                </a:cubicBezTo>
                <a:lnTo>
                  <a:pt x="393" y="358"/>
                </a:lnTo>
                <a:lnTo>
                  <a:pt x="465" y="358"/>
                </a:lnTo>
                <a:lnTo>
                  <a:pt x="465" y="96"/>
                </a:lnTo>
                <a:cubicBezTo>
                  <a:pt x="465" y="91"/>
                  <a:pt x="500" y="71"/>
                  <a:pt x="515" y="71"/>
                </a:cubicBezTo>
                <a:lnTo>
                  <a:pt x="680" y="71"/>
                </a:lnTo>
                <a:lnTo>
                  <a:pt x="680" y="465"/>
                </a:lnTo>
                <a:lnTo>
                  <a:pt x="486" y="465"/>
                </a:lnTo>
                <a:lnTo>
                  <a:pt x="476" y="476"/>
                </a:lnTo>
                <a:close/>
                <a:moveTo>
                  <a:pt x="752" y="537"/>
                </a:moveTo>
                <a:lnTo>
                  <a:pt x="752" y="0"/>
                </a:lnTo>
                <a:lnTo>
                  <a:pt x="486" y="0"/>
                </a:lnTo>
                <a:lnTo>
                  <a:pt x="476" y="10"/>
                </a:lnTo>
                <a:cubicBezTo>
                  <a:pt x="450" y="36"/>
                  <a:pt x="409" y="36"/>
                  <a:pt x="383" y="10"/>
                </a:cubicBezTo>
                <a:lnTo>
                  <a:pt x="373" y="0"/>
                </a:lnTo>
                <a:lnTo>
                  <a:pt x="107" y="0"/>
                </a:lnTo>
                <a:lnTo>
                  <a:pt x="107" y="537"/>
                </a:lnTo>
                <a:lnTo>
                  <a:pt x="344" y="537"/>
                </a:lnTo>
                <a:cubicBezTo>
                  <a:pt x="369" y="573"/>
                  <a:pt x="399" y="566"/>
                  <a:pt x="429" y="566"/>
                </a:cubicBezTo>
                <a:cubicBezTo>
                  <a:pt x="460" y="566"/>
                  <a:pt x="490" y="573"/>
                  <a:pt x="515" y="537"/>
                </a:cubicBezTo>
                <a:lnTo>
                  <a:pt x="752" y="537"/>
                </a:lnTo>
                <a:close/>
                <a:moveTo>
                  <a:pt x="71" y="573"/>
                </a:moveTo>
                <a:lnTo>
                  <a:pt x="71" y="107"/>
                </a:lnTo>
                <a:lnTo>
                  <a:pt x="0" y="107"/>
                </a:lnTo>
                <a:lnTo>
                  <a:pt x="0" y="644"/>
                </a:lnTo>
                <a:lnTo>
                  <a:pt x="394" y="644"/>
                </a:lnTo>
                <a:lnTo>
                  <a:pt x="322" y="573"/>
                </a:lnTo>
                <a:lnTo>
                  <a:pt x="71" y="5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0"/>
          <p:cNvSpPr>
            <a:spLocks noEditPoints="1"/>
          </p:cNvSpPr>
          <p:nvPr/>
        </p:nvSpPr>
        <p:spPr bwMode="auto">
          <a:xfrm>
            <a:off x="11601728" y="1744503"/>
            <a:ext cx="360248" cy="301287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8" name="Freeform 41"/>
          <p:cNvSpPr>
            <a:spLocks/>
          </p:cNvSpPr>
          <p:nvPr/>
        </p:nvSpPr>
        <p:spPr bwMode="auto">
          <a:xfrm>
            <a:off x="11600809" y="4756459"/>
            <a:ext cx="362085" cy="315984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69" name="Группа 68"/>
          <p:cNvGrpSpPr/>
          <p:nvPr/>
        </p:nvGrpSpPr>
        <p:grpSpPr>
          <a:xfrm>
            <a:off x="11614594" y="200960"/>
            <a:ext cx="334516" cy="361915"/>
            <a:chOff x="477468" y="2705515"/>
            <a:chExt cx="409903" cy="443477"/>
          </a:xfrm>
        </p:grpSpPr>
        <p:sp>
          <p:nvSpPr>
            <p:cNvPr id="70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1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72" name="Freeform 44"/>
          <p:cNvSpPr>
            <a:spLocks noEditPoints="1"/>
          </p:cNvSpPr>
          <p:nvPr/>
        </p:nvSpPr>
        <p:spPr bwMode="auto">
          <a:xfrm>
            <a:off x="11606322" y="5464056"/>
            <a:ext cx="351059" cy="380284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3" name="Freeform 45"/>
          <p:cNvSpPr>
            <a:spLocks noEditPoints="1"/>
          </p:cNvSpPr>
          <p:nvPr/>
        </p:nvSpPr>
        <p:spPr bwMode="auto">
          <a:xfrm>
            <a:off x="11601728" y="966788"/>
            <a:ext cx="360248" cy="347216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89" name="Freeform 46"/>
          <p:cNvSpPr>
            <a:spLocks noEditPoints="1"/>
          </p:cNvSpPr>
          <p:nvPr/>
        </p:nvSpPr>
        <p:spPr bwMode="auto">
          <a:xfrm>
            <a:off x="11655949" y="3977824"/>
            <a:ext cx="251807" cy="363751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5" name="Freeform 52"/>
          <p:cNvSpPr>
            <a:spLocks noEditPoints="1"/>
          </p:cNvSpPr>
          <p:nvPr/>
        </p:nvSpPr>
        <p:spPr bwMode="auto">
          <a:xfrm>
            <a:off x="11605404" y="3223075"/>
            <a:ext cx="352896" cy="36375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Freeform 53"/>
          <p:cNvSpPr>
            <a:spLocks noEditPoints="1"/>
          </p:cNvSpPr>
          <p:nvPr/>
        </p:nvSpPr>
        <p:spPr bwMode="auto">
          <a:xfrm>
            <a:off x="11594376" y="6260448"/>
            <a:ext cx="374952" cy="327005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115" name="AutoShape 4"/>
          <p:cNvSpPr>
            <a:spLocks noChangeAspect="1" noChangeArrowheads="1" noTextEdit="1"/>
          </p:cNvSpPr>
          <p:nvPr/>
        </p:nvSpPr>
        <p:spPr bwMode="auto">
          <a:xfrm>
            <a:off x="5844301" y="1808388"/>
            <a:ext cx="918665" cy="317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79" name="Группа 78"/>
          <p:cNvGrpSpPr/>
          <p:nvPr/>
        </p:nvGrpSpPr>
        <p:grpSpPr>
          <a:xfrm>
            <a:off x="187523" y="275208"/>
            <a:ext cx="1428304" cy="534394"/>
            <a:chOff x="254665" y="195486"/>
            <a:chExt cx="951720" cy="329081"/>
          </a:xfrm>
        </p:grpSpPr>
        <p:sp>
          <p:nvSpPr>
            <p:cNvPr id="80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3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4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5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6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7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8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0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1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2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3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4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5" name="Picture 3"/>
          <p:cNvPicPr>
            <a:picLocks noChangeAspect="1" noChangeArrowheads="1"/>
          </p:cNvPicPr>
          <p:nvPr/>
        </p:nvPicPr>
        <p:blipFill>
          <a:blip r:embed="rId8"/>
          <a:stretch/>
        </p:blipFill>
        <p:spPr bwMode="auto">
          <a:xfrm>
            <a:off x="291286" y="1314003"/>
            <a:ext cx="1350717" cy="1850409"/>
          </a:xfrm>
          <a:prstGeom prst="rect">
            <a:avLst/>
          </a:prstGeom>
          <a:ln>
            <a:noFill/>
          </a:ln>
        </p:spPr>
      </p:pic>
      <p:pic>
        <p:nvPicPr>
          <p:cNvPr id="50" name="Picture 5"/>
          <p:cNvPicPr>
            <a:picLocks noChangeAspect="1" noChangeArrowheads="1"/>
          </p:cNvPicPr>
          <p:nvPr/>
        </p:nvPicPr>
        <p:blipFill>
          <a:blip r:embed="rId9"/>
          <a:stretch/>
        </p:blipFill>
        <p:spPr bwMode="auto">
          <a:xfrm>
            <a:off x="1882938" y="1314003"/>
            <a:ext cx="1299323" cy="1850409"/>
          </a:xfrm>
          <a:prstGeom prst="rect">
            <a:avLst/>
          </a:prstGeom>
          <a:ln>
            <a:noFill/>
          </a:ln>
        </p:spPr>
      </p:pic>
      <p:sp>
        <p:nvSpPr>
          <p:cNvPr id="53" name="TextBox 9"/>
          <p:cNvSpPr>
            <a:spLocks/>
          </p:cNvSpPr>
          <p:nvPr/>
        </p:nvSpPr>
        <p:spPr bwMode="auto">
          <a:xfrm>
            <a:off x="1266624" y="-56547"/>
            <a:ext cx="937914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cs typeface="Arial"/>
              </a:rPr>
              <a:t>УМК «ПОЛЯРНАЯ ЗВЕЗДА» </a:t>
            </a:r>
            <a:r>
              <a:rPr kumimoji="0" lang="ru-RU" sz="24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cs typeface="Arial"/>
              </a:rPr>
              <a:t>—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cs typeface="Arial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cs typeface="Arial"/>
              </a:rPr>
              <a:t>ответ современным запросам образования (5-11 классы) </a:t>
            </a:r>
          </a:p>
        </p:txBody>
      </p:sp>
      <p:sp>
        <p:nvSpPr>
          <p:cNvPr id="55" name="Прямоугольник 14"/>
          <p:cNvSpPr/>
          <p:nvPr/>
        </p:nvSpPr>
        <p:spPr bwMode="auto">
          <a:xfrm>
            <a:off x="5580678" y="1198395"/>
            <a:ext cx="5569078" cy="34459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Calibri"/>
                <a:cs typeface="Times New Roman"/>
              </a:rPr>
              <a:t>          Ключевые преимущества учебников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dirty="0"/>
              <a:t>Классическое построение теоретического содержания           5-9 классов: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ru-RU" sz="1600" dirty="0"/>
              <a:t>7 класс – формирование образа территории за счёт уроков-путешествий; 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ru-RU" sz="1600" dirty="0"/>
              <a:t>8 класс – природа и население России;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ru-RU" sz="1600" dirty="0"/>
              <a:t>9 класс –  хозяйство и регионы России.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dirty="0"/>
              <a:t>Использование практических методов в рубриках «Шаг за шагом», «Читаем карту»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dirty="0"/>
              <a:t>Дифференцированные задания для всех параграфов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dirty="0"/>
              <a:t>Включение проектно-исследовательских параграфов «Учимся с «Полярной звездой»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dirty="0"/>
              <a:t>Мини-атлас в конце каждого учебника.</a:t>
            </a:r>
          </a:p>
        </p:txBody>
      </p:sp>
      <p:pic>
        <p:nvPicPr>
          <p:cNvPr id="58" name="Рисунок 1"/>
          <p:cNvPicPr>
            <a:picLocks noChangeAspect="1"/>
          </p:cNvPicPr>
          <p:nvPr/>
        </p:nvPicPr>
        <p:blipFill>
          <a:blip r:embed="rId10"/>
          <a:stretch/>
        </p:blipFill>
        <p:spPr bwMode="auto">
          <a:xfrm>
            <a:off x="219439" y="3996944"/>
            <a:ext cx="1340612" cy="1798888"/>
          </a:xfrm>
          <a:prstGeom prst="rect">
            <a:avLst/>
          </a:prstGeom>
          <a:ln>
            <a:noFill/>
          </a:ln>
        </p:spPr>
      </p:pic>
      <p:pic>
        <p:nvPicPr>
          <p:cNvPr id="60" name="Рисунок 2"/>
          <p:cNvPicPr>
            <a:picLocks noChangeAspect="1"/>
          </p:cNvPicPr>
          <p:nvPr/>
        </p:nvPicPr>
        <p:blipFill>
          <a:blip r:embed="rId11"/>
          <a:stretch/>
        </p:blipFill>
        <p:spPr bwMode="auto">
          <a:xfrm>
            <a:off x="1882938" y="3941625"/>
            <a:ext cx="1299323" cy="1850409"/>
          </a:xfrm>
          <a:prstGeom prst="rect">
            <a:avLst/>
          </a:prstGeom>
          <a:ln>
            <a:noFill/>
          </a:ln>
        </p:spPr>
      </p:pic>
      <p:sp>
        <p:nvSpPr>
          <p:cNvPr id="63" name="object 39"/>
          <p:cNvSpPr txBox="1"/>
          <p:nvPr/>
        </p:nvSpPr>
        <p:spPr>
          <a:xfrm>
            <a:off x="555966" y="3299810"/>
            <a:ext cx="2438301" cy="162865"/>
          </a:xfrm>
          <a:prstGeom prst="rect">
            <a:avLst/>
          </a:prstGeom>
          <a:solidFill>
            <a:srgbClr val="2C3493"/>
          </a:solidFill>
        </p:spPr>
        <p:txBody>
          <a:bodyPr vert="horz" wrap="square" lIns="0" tIns="1270" rIns="0" bIns="0" rtlCol="0">
            <a:spAutoFit/>
          </a:bodyPr>
          <a:lstStyle/>
          <a:p>
            <a:pPr marL="199390">
              <a:lnSpc>
                <a:spcPct val="100000"/>
              </a:lnSpc>
              <a:spcBef>
                <a:spcPts val="5"/>
              </a:spcBef>
            </a:pPr>
            <a:r>
              <a:rPr sz="1050" b="1" spc="-5" dirty="0">
                <a:solidFill>
                  <a:srgbClr val="FFFFFF"/>
                </a:solidFill>
                <a:latin typeface="Carlito"/>
                <a:cs typeface="Carlito"/>
              </a:rPr>
              <a:t>ФП №</a:t>
            </a:r>
            <a:r>
              <a:rPr sz="1050" b="1" spc="210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lang="ru-RU" sz="1050" b="1" spc="-10" dirty="0">
                <a:solidFill>
                  <a:srgbClr val="FFFFFF"/>
                </a:solidFill>
                <a:latin typeface="Carlito"/>
                <a:cs typeface="Carlito"/>
              </a:rPr>
              <a:t>1.1.2.3.4.1.1</a:t>
            </a:r>
            <a:r>
              <a:rPr lang="ru-RU" sz="1050" b="1" spc="-5" dirty="0">
                <a:solidFill>
                  <a:srgbClr val="FFFFFF"/>
                </a:solidFill>
                <a:latin typeface="Carlito"/>
                <a:cs typeface="Carlito"/>
              </a:rPr>
              <a:t> – </a:t>
            </a:r>
            <a:r>
              <a:rPr lang="ru-RU" sz="1050" b="1" spc="-10" dirty="0">
                <a:solidFill>
                  <a:srgbClr val="FFFFFF"/>
                </a:solidFill>
                <a:latin typeface="Carlito"/>
                <a:cs typeface="Carlito"/>
              </a:rPr>
              <a:t>1.1.2.3.4.1.4</a:t>
            </a:r>
            <a:endParaRPr sz="1050" dirty="0">
              <a:latin typeface="Carlito"/>
              <a:cs typeface="Carlito"/>
            </a:endParaRPr>
          </a:p>
        </p:txBody>
      </p:sp>
      <p:sp>
        <p:nvSpPr>
          <p:cNvPr id="64" name="object 29"/>
          <p:cNvSpPr txBox="1"/>
          <p:nvPr/>
        </p:nvSpPr>
        <p:spPr>
          <a:xfrm>
            <a:off x="333332" y="6224694"/>
            <a:ext cx="2182878" cy="155171"/>
          </a:xfrm>
          <a:prstGeom prst="rect">
            <a:avLst/>
          </a:prstGeom>
          <a:solidFill>
            <a:srgbClr val="2C3493"/>
          </a:solidFill>
        </p:spPr>
        <p:txBody>
          <a:bodyPr vert="horz" wrap="square" lIns="0" tIns="1270" rIns="0" bIns="0" rtlCol="0">
            <a:spAutoFit/>
          </a:bodyPr>
          <a:lstStyle/>
          <a:p>
            <a:pPr marL="255904">
              <a:spcBef>
                <a:spcPts val="5"/>
              </a:spcBef>
            </a:pPr>
            <a:r>
              <a:rPr sz="1000" b="1" spc="-5" dirty="0">
                <a:solidFill>
                  <a:srgbClr val="FFFFFF"/>
                </a:solidFill>
                <a:latin typeface="Carlito"/>
                <a:cs typeface="Carlito"/>
              </a:rPr>
              <a:t>ФП</a:t>
            </a:r>
            <a:r>
              <a:rPr sz="1000" b="1" spc="-15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1000" b="1" spc="-10" dirty="0">
                <a:solidFill>
                  <a:srgbClr val="FFFFFF"/>
                </a:solidFill>
                <a:latin typeface="Carlito"/>
                <a:cs typeface="Carlito"/>
              </a:rPr>
              <a:t>№</a:t>
            </a:r>
            <a:r>
              <a:rPr lang="ru-RU" sz="1000" b="1" spc="-10" dirty="0">
                <a:solidFill>
                  <a:srgbClr val="FFFFFF"/>
                </a:solidFill>
                <a:latin typeface="Carlito"/>
                <a:cs typeface="Carlito"/>
              </a:rPr>
              <a:t> 1.1.3.3.2.2.1</a:t>
            </a:r>
            <a:r>
              <a:rPr lang="ru-RU" sz="1000" b="1" spc="-5" dirty="0">
                <a:solidFill>
                  <a:srgbClr val="FFFFFF"/>
                </a:solidFill>
                <a:latin typeface="Carlito"/>
                <a:cs typeface="Carlito"/>
              </a:rPr>
              <a:t> –</a:t>
            </a:r>
            <a:r>
              <a:rPr lang="ru-RU" sz="1000" b="1" dirty="0">
                <a:solidFill>
                  <a:schemeClr val="bg1"/>
                </a:solidFill>
                <a:latin typeface="Carlito"/>
                <a:cs typeface="Carlito"/>
              </a:rPr>
              <a:t>1.1.3.3.2.2.2</a:t>
            </a:r>
          </a:p>
        </p:txBody>
      </p:sp>
      <p:sp>
        <p:nvSpPr>
          <p:cNvPr id="65" name="Подзаголовок 3"/>
          <p:cNvSpPr txBox="1">
            <a:spLocks/>
          </p:cNvSpPr>
          <p:nvPr/>
        </p:nvSpPr>
        <p:spPr>
          <a:xfrm>
            <a:off x="3210724" y="3578463"/>
            <a:ext cx="2369954" cy="1222802"/>
          </a:xfrm>
          <a:prstGeom prst="rect">
            <a:avLst/>
          </a:prstGeom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b="1" dirty="0">
                <a:latin typeface="Calibri" panose="020F0502020204030204" pitchFamily="34" charset="0"/>
                <a:cs typeface="Calibri" panose="020F0502020204030204" pitchFamily="34" charset="0"/>
              </a:rPr>
              <a:t>Состав УМК:</a:t>
            </a:r>
          </a:p>
          <a:p>
            <a:pPr marL="171450" lvl="0" indent="-1714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Поурочные разработки </a:t>
            </a:r>
          </a:p>
          <a:p>
            <a:pPr marL="171450" lvl="0" indent="-1714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рабочая программа</a:t>
            </a:r>
          </a:p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ЭФУ</a:t>
            </a:r>
          </a:p>
        </p:txBody>
      </p:sp>
      <p:sp>
        <p:nvSpPr>
          <p:cNvPr id="66" name="Подзаголовок 3"/>
          <p:cNvSpPr txBox="1">
            <a:spLocks/>
          </p:cNvSpPr>
          <p:nvPr/>
        </p:nvSpPr>
        <p:spPr>
          <a:xfrm>
            <a:off x="3210724" y="4491956"/>
            <a:ext cx="2599958" cy="1451081"/>
          </a:xfrm>
          <a:prstGeom prst="rect">
            <a:avLst/>
          </a:prstGeom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Мой тренажер</a:t>
            </a:r>
          </a:p>
          <a:p>
            <a:pPr marL="171450" lvl="0" indent="-1714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Практические работы </a:t>
            </a:r>
          </a:p>
          <a:p>
            <a:pPr marL="171450" lvl="0" indent="-1714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Проверочные работы  </a:t>
            </a:r>
          </a:p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атласы</a:t>
            </a:r>
          </a:p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контурные карты</a:t>
            </a:r>
          </a:p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49691" y="5975593"/>
            <a:ext cx="261225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00" b="1" spc="-15" dirty="0">
                <a:solidFill>
                  <a:srgbClr val="2E2E2E"/>
                </a:solidFill>
                <a:latin typeface="Carlito"/>
                <a:cs typeface="Carlito"/>
              </a:rPr>
              <a:t>(базовый и углубленный</a:t>
            </a:r>
            <a:r>
              <a:rPr lang="ru-RU" sz="1100" b="1" spc="5" dirty="0">
                <a:solidFill>
                  <a:srgbClr val="2E2E2E"/>
                </a:solidFill>
                <a:latin typeface="Carlito"/>
                <a:cs typeface="Carlito"/>
              </a:rPr>
              <a:t> </a:t>
            </a:r>
            <a:r>
              <a:rPr lang="ru-RU" sz="1100" b="1" spc="-5" dirty="0">
                <a:solidFill>
                  <a:srgbClr val="2E2E2E"/>
                </a:solidFill>
                <a:latin typeface="Carlito"/>
                <a:cs typeface="Carlito"/>
              </a:rPr>
              <a:t>уровень) </a:t>
            </a:r>
            <a:endParaRPr lang="ru-RU" sz="1100" dirty="0"/>
          </a:p>
        </p:txBody>
      </p:sp>
      <p:cxnSp>
        <p:nvCxnSpPr>
          <p:cNvPr id="61" name="Прямая соединительная линия 60"/>
          <p:cNvCxnSpPr/>
          <p:nvPr/>
        </p:nvCxnSpPr>
        <p:spPr>
          <a:xfrm>
            <a:off x="1669002" y="756724"/>
            <a:ext cx="9706667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Прямоугольник 75"/>
          <p:cNvSpPr/>
          <p:nvPr/>
        </p:nvSpPr>
        <p:spPr>
          <a:xfrm>
            <a:off x="6077982" y="5216781"/>
            <a:ext cx="492414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u="sng" dirty="0">
                <a:hlinkClick r:id="" action="ppaction://noaction"/>
              </a:rPr>
              <a:t>https</a:t>
            </a:r>
            <a:r>
              <a:rPr lang="ru-RU" sz="1400" u="sng" dirty="0">
                <a:hlinkClick r:id="rId12"/>
              </a:rPr>
              <a:t>://yadi.sk/d/LNlprfCs4XHpyg</a:t>
            </a:r>
            <a:r>
              <a:rPr lang="ru-RU" sz="1400" dirty="0"/>
              <a:t>  - 8 класс Полярная звезда</a:t>
            </a:r>
          </a:p>
          <a:p>
            <a:r>
              <a:rPr lang="ru-RU" sz="1400" u="sng" dirty="0">
                <a:hlinkClick r:id="rId13"/>
              </a:rPr>
              <a:t>https://yadi.sk/d/VPj3WY95xMTOzw</a:t>
            </a:r>
            <a:r>
              <a:rPr lang="ru-RU" sz="1400" dirty="0"/>
              <a:t> - 7 класс Полярная звезда</a:t>
            </a:r>
          </a:p>
          <a:p>
            <a:r>
              <a:rPr lang="ru-RU" sz="1400" u="sng" dirty="0">
                <a:hlinkClick r:id="rId14"/>
              </a:rPr>
              <a:t>https://yadi.sk/d/6kfkuchq8c3afA - 5-6</a:t>
            </a:r>
            <a:r>
              <a:rPr lang="ru-RU" sz="1400" dirty="0"/>
              <a:t> класс Полярная звезда</a:t>
            </a:r>
          </a:p>
        </p:txBody>
      </p:sp>
      <p:sp>
        <p:nvSpPr>
          <p:cNvPr id="77" name="object 52"/>
          <p:cNvSpPr/>
          <p:nvPr/>
        </p:nvSpPr>
        <p:spPr>
          <a:xfrm>
            <a:off x="6990384" y="6045360"/>
            <a:ext cx="192024" cy="242075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8" name="object 53"/>
          <p:cNvSpPr/>
          <p:nvPr/>
        </p:nvSpPr>
        <p:spPr>
          <a:xfrm>
            <a:off x="6885227" y="5955445"/>
            <a:ext cx="414655" cy="424420"/>
          </a:xfrm>
          <a:custGeom>
            <a:avLst/>
            <a:gdLst/>
            <a:ahLst/>
            <a:cxnLst/>
            <a:rect l="l" t="t" r="r" b="b"/>
            <a:pathLst>
              <a:path w="414654" h="411479">
                <a:moveTo>
                  <a:pt x="227838" y="0"/>
                </a:moveTo>
                <a:lnTo>
                  <a:pt x="183769" y="0"/>
                </a:lnTo>
                <a:lnTo>
                  <a:pt x="166116" y="2920"/>
                </a:lnTo>
                <a:lnTo>
                  <a:pt x="126365" y="14604"/>
                </a:lnTo>
                <a:lnTo>
                  <a:pt x="89662" y="33654"/>
                </a:lnTo>
                <a:lnTo>
                  <a:pt x="60325" y="60070"/>
                </a:lnTo>
                <a:lnTo>
                  <a:pt x="33782" y="89280"/>
                </a:lnTo>
                <a:lnTo>
                  <a:pt x="25019" y="106933"/>
                </a:lnTo>
                <a:lnTo>
                  <a:pt x="14732" y="124459"/>
                </a:lnTo>
                <a:lnTo>
                  <a:pt x="8763" y="143509"/>
                </a:lnTo>
                <a:lnTo>
                  <a:pt x="4445" y="162559"/>
                </a:lnTo>
                <a:lnTo>
                  <a:pt x="0" y="183006"/>
                </a:lnTo>
                <a:lnTo>
                  <a:pt x="0" y="226948"/>
                </a:lnTo>
                <a:lnTo>
                  <a:pt x="4445" y="247522"/>
                </a:lnTo>
                <a:lnTo>
                  <a:pt x="8763" y="265048"/>
                </a:lnTo>
                <a:lnTo>
                  <a:pt x="14732" y="284098"/>
                </a:lnTo>
                <a:lnTo>
                  <a:pt x="25019" y="303148"/>
                </a:lnTo>
                <a:lnTo>
                  <a:pt x="33782" y="320674"/>
                </a:lnTo>
                <a:lnTo>
                  <a:pt x="46990" y="336803"/>
                </a:lnTo>
                <a:lnTo>
                  <a:pt x="60325" y="349973"/>
                </a:lnTo>
                <a:lnTo>
                  <a:pt x="74930" y="364616"/>
                </a:lnTo>
                <a:lnTo>
                  <a:pt x="89662" y="376339"/>
                </a:lnTo>
                <a:lnTo>
                  <a:pt x="107315" y="385127"/>
                </a:lnTo>
                <a:lnTo>
                  <a:pt x="126365" y="395376"/>
                </a:lnTo>
                <a:lnTo>
                  <a:pt x="145542" y="402691"/>
                </a:lnTo>
                <a:lnTo>
                  <a:pt x="166116" y="408546"/>
                </a:lnTo>
                <a:lnTo>
                  <a:pt x="183769" y="410019"/>
                </a:lnTo>
                <a:lnTo>
                  <a:pt x="207264" y="411479"/>
                </a:lnTo>
                <a:lnTo>
                  <a:pt x="248412" y="408546"/>
                </a:lnTo>
                <a:lnTo>
                  <a:pt x="267589" y="402691"/>
                </a:lnTo>
                <a:lnTo>
                  <a:pt x="288163" y="395376"/>
                </a:lnTo>
                <a:lnTo>
                  <a:pt x="304292" y="385127"/>
                </a:lnTo>
                <a:lnTo>
                  <a:pt x="310184" y="382193"/>
                </a:lnTo>
                <a:lnTo>
                  <a:pt x="188214" y="382193"/>
                </a:lnTo>
                <a:lnTo>
                  <a:pt x="170561" y="377799"/>
                </a:lnTo>
                <a:lnTo>
                  <a:pt x="154305" y="374865"/>
                </a:lnTo>
                <a:lnTo>
                  <a:pt x="136651" y="369011"/>
                </a:lnTo>
                <a:lnTo>
                  <a:pt x="122047" y="361695"/>
                </a:lnTo>
                <a:lnTo>
                  <a:pt x="107315" y="351447"/>
                </a:lnTo>
                <a:lnTo>
                  <a:pt x="94107" y="342658"/>
                </a:lnTo>
                <a:lnTo>
                  <a:pt x="58800" y="303148"/>
                </a:lnTo>
                <a:lnTo>
                  <a:pt x="35306" y="257682"/>
                </a:lnTo>
                <a:lnTo>
                  <a:pt x="27940" y="204977"/>
                </a:lnTo>
                <a:lnTo>
                  <a:pt x="29337" y="187451"/>
                </a:lnTo>
                <a:lnTo>
                  <a:pt x="32385" y="169925"/>
                </a:lnTo>
                <a:lnTo>
                  <a:pt x="35306" y="153796"/>
                </a:lnTo>
                <a:lnTo>
                  <a:pt x="42672" y="136143"/>
                </a:lnTo>
                <a:lnTo>
                  <a:pt x="51435" y="121538"/>
                </a:lnTo>
                <a:lnTo>
                  <a:pt x="58800" y="106933"/>
                </a:lnTo>
                <a:lnTo>
                  <a:pt x="107315" y="57149"/>
                </a:lnTo>
                <a:lnTo>
                  <a:pt x="154305" y="35178"/>
                </a:lnTo>
                <a:lnTo>
                  <a:pt x="207264" y="27812"/>
                </a:lnTo>
                <a:lnTo>
                  <a:pt x="311919" y="27812"/>
                </a:lnTo>
                <a:lnTo>
                  <a:pt x="304292" y="23367"/>
                </a:lnTo>
                <a:lnTo>
                  <a:pt x="288163" y="14604"/>
                </a:lnTo>
                <a:lnTo>
                  <a:pt x="267589" y="7365"/>
                </a:lnTo>
                <a:lnTo>
                  <a:pt x="248412" y="2920"/>
                </a:lnTo>
                <a:lnTo>
                  <a:pt x="227838" y="0"/>
                </a:lnTo>
                <a:close/>
              </a:path>
              <a:path w="414654" h="411479">
                <a:moveTo>
                  <a:pt x="311919" y="27812"/>
                </a:moveTo>
                <a:lnTo>
                  <a:pt x="207264" y="27812"/>
                </a:lnTo>
                <a:lnTo>
                  <a:pt x="223393" y="29336"/>
                </a:lnTo>
                <a:lnTo>
                  <a:pt x="242570" y="30733"/>
                </a:lnTo>
                <a:lnTo>
                  <a:pt x="260223" y="35178"/>
                </a:lnTo>
                <a:lnTo>
                  <a:pt x="274827" y="42417"/>
                </a:lnTo>
                <a:lnTo>
                  <a:pt x="291084" y="49783"/>
                </a:lnTo>
                <a:lnTo>
                  <a:pt x="304292" y="57149"/>
                </a:lnTo>
                <a:lnTo>
                  <a:pt x="320421" y="68833"/>
                </a:lnTo>
                <a:lnTo>
                  <a:pt x="330708" y="80517"/>
                </a:lnTo>
                <a:lnTo>
                  <a:pt x="343916" y="93725"/>
                </a:lnTo>
                <a:lnTo>
                  <a:pt x="370459" y="136143"/>
                </a:lnTo>
                <a:lnTo>
                  <a:pt x="379222" y="169925"/>
                </a:lnTo>
                <a:lnTo>
                  <a:pt x="383667" y="187451"/>
                </a:lnTo>
                <a:lnTo>
                  <a:pt x="383667" y="222630"/>
                </a:lnTo>
                <a:lnTo>
                  <a:pt x="379222" y="241553"/>
                </a:lnTo>
                <a:lnTo>
                  <a:pt x="376300" y="257682"/>
                </a:lnTo>
                <a:lnTo>
                  <a:pt x="354202" y="303148"/>
                </a:lnTo>
                <a:lnTo>
                  <a:pt x="330708" y="329476"/>
                </a:lnTo>
                <a:lnTo>
                  <a:pt x="320421" y="342658"/>
                </a:lnTo>
                <a:lnTo>
                  <a:pt x="304292" y="351447"/>
                </a:lnTo>
                <a:lnTo>
                  <a:pt x="291084" y="361695"/>
                </a:lnTo>
                <a:lnTo>
                  <a:pt x="274827" y="369011"/>
                </a:lnTo>
                <a:lnTo>
                  <a:pt x="260223" y="374865"/>
                </a:lnTo>
                <a:lnTo>
                  <a:pt x="242570" y="377799"/>
                </a:lnTo>
                <a:lnTo>
                  <a:pt x="223393" y="382193"/>
                </a:lnTo>
                <a:lnTo>
                  <a:pt x="310184" y="382193"/>
                </a:lnTo>
                <a:lnTo>
                  <a:pt x="321945" y="376339"/>
                </a:lnTo>
                <a:lnTo>
                  <a:pt x="338074" y="364616"/>
                </a:lnTo>
                <a:lnTo>
                  <a:pt x="354202" y="349973"/>
                </a:lnTo>
                <a:lnTo>
                  <a:pt x="367538" y="336803"/>
                </a:lnTo>
                <a:lnTo>
                  <a:pt x="377825" y="320674"/>
                </a:lnTo>
                <a:lnTo>
                  <a:pt x="389509" y="303148"/>
                </a:lnTo>
                <a:lnTo>
                  <a:pt x="404241" y="265048"/>
                </a:lnTo>
                <a:lnTo>
                  <a:pt x="410083" y="247522"/>
                </a:lnTo>
                <a:lnTo>
                  <a:pt x="411607" y="226948"/>
                </a:lnTo>
                <a:lnTo>
                  <a:pt x="414527" y="204977"/>
                </a:lnTo>
                <a:lnTo>
                  <a:pt x="411607" y="183006"/>
                </a:lnTo>
                <a:lnTo>
                  <a:pt x="410083" y="162559"/>
                </a:lnTo>
                <a:lnTo>
                  <a:pt x="404241" y="143509"/>
                </a:lnTo>
                <a:lnTo>
                  <a:pt x="389509" y="106933"/>
                </a:lnTo>
                <a:lnTo>
                  <a:pt x="367538" y="74675"/>
                </a:lnTo>
                <a:lnTo>
                  <a:pt x="321945" y="33654"/>
                </a:lnTo>
                <a:lnTo>
                  <a:pt x="311919" y="27812"/>
                </a:lnTo>
                <a:close/>
              </a:path>
            </a:pathLst>
          </a:custGeom>
          <a:solidFill>
            <a:srgbClr val="2E36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7" name="Прямоугольник 96"/>
          <p:cNvSpPr/>
          <p:nvPr/>
        </p:nvSpPr>
        <p:spPr>
          <a:xfrm>
            <a:off x="5734076" y="4845939"/>
            <a:ext cx="256140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>
                <a:srgbClr val="2D3494"/>
              </a:buClr>
            </a:pPr>
            <a:r>
              <a:rPr lang="ru-RU" sz="1600" b="1" dirty="0">
                <a:latin typeface="Calibri" panose="020F0502020204030204" pitchFamily="34" charset="0"/>
                <a:cs typeface="Calibri" panose="020F0502020204030204" pitchFamily="34" charset="0"/>
              </a:rPr>
              <a:t>Электронное приложение 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7400198" y="6030574"/>
            <a:ext cx="284981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>
                <a:solidFill>
                  <a:srgbClr val="171717"/>
                </a:solidFill>
                <a:latin typeface="Carlito"/>
                <a:cs typeface="Carlito"/>
              </a:rPr>
              <a:t>доступно для скачивания на сайте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8373338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0" name="Picture 20" descr="Изображение География. Атлас. 10-11 классы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4143" y="1231565"/>
            <a:ext cx="1440829" cy="205190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7" name="Picture 4">
            <a:extLst>
              <a:ext uri="{FF2B5EF4-FFF2-40B4-BE49-F238E27FC236}">
                <a16:creationId xmlns:a16="http://schemas.microsoft.com/office/drawing/2014/main" xmlns="" id="{82B4D4E3-B5DD-A840-9C4A-B4A5D753CD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29888" y="4250082"/>
            <a:ext cx="1642925" cy="228984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" name="Picture 8" descr="Изображение География. Проверочные работы. 9 класс">
            <a:extLst>
              <a:ext uri="{FF2B5EF4-FFF2-40B4-BE49-F238E27FC236}">
                <a16:creationId xmlns:a16="http://schemas.microsoft.com/office/drawing/2014/main" xmlns="" id="{D2D20017-C4A9-3B4B-ADB5-F652CAE642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4005" y="1314004"/>
            <a:ext cx="1558524" cy="210604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89" name="Слайд think-cell" r:id="rId8" imgW="359" imgH="360" progId="TCLayout.ActiveDocument.1">
                  <p:embed/>
                </p:oleObj>
              </mc:Choice>
              <mc:Fallback>
                <p:oleObj name="Слайд think-cell" r:id="rId8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xmlns="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11375669" y="2257824"/>
            <a:ext cx="812363" cy="754751"/>
          </a:xfrm>
          <a:prstGeom prst="rect">
            <a:avLst/>
          </a:prstGeom>
          <a:solidFill>
            <a:srgbClr val="40D4E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3"/>
          <p:cNvSpPr>
            <a:spLocks noChangeArrowheads="1"/>
          </p:cNvSpPr>
          <p:nvPr/>
        </p:nvSpPr>
        <p:spPr bwMode="auto">
          <a:xfrm>
            <a:off x="11375669" y="5276823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4"/>
          <p:cNvSpPr>
            <a:spLocks noChangeArrowheads="1"/>
          </p:cNvSpPr>
          <p:nvPr/>
        </p:nvSpPr>
        <p:spPr bwMode="auto">
          <a:xfrm>
            <a:off x="11376586" y="4522072"/>
            <a:ext cx="812363" cy="754751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17"/>
          <p:cNvSpPr>
            <a:spLocks noChangeArrowheads="1"/>
          </p:cNvSpPr>
          <p:nvPr/>
        </p:nvSpPr>
        <p:spPr bwMode="auto">
          <a:xfrm>
            <a:off x="11375670" y="-4589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19"/>
          <p:cNvSpPr>
            <a:spLocks noChangeArrowheads="1"/>
          </p:cNvSpPr>
          <p:nvPr/>
        </p:nvSpPr>
        <p:spPr bwMode="auto">
          <a:xfrm>
            <a:off x="11376586" y="3012572"/>
            <a:ext cx="812363" cy="754751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1"/>
          <p:cNvSpPr>
            <a:spLocks noChangeArrowheads="1"/>
          </p:cNvSpPr>
          <p:nvPr/>
        </p:nvSpPr>
        <p:spPr bwMode="auto">
          <a:xfrm>
            <a:off x="11376586" y="6031572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2"/>
          <p:cNvSpPr>
            <a:spLocks noChangeArrowheads="1"/>
          </p:cNvSpPr>
          <p:nvPr/>
        </p:nvSpPr>
        <p:spPr bwMode="auto">
          <a:xfrm>
            <a:off x="11375670" y="1502768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2" name="Rectangle 25"/>
          <p:cNvSpPr>
            <a:spLocks noChangeArrowheads="1"/>
          </p:cNvSpPr>
          <p:nvPr/>
        </p:nvSpPr>
        <p:spPr bwMode="auto">
          <a:xfrm>
            <a:off x="11376586" y="3767322"/>
            <a:ext cx="812363" cy="754751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29"/>
          <p:cNvSpPr>
            <a:spLocks noChangeArrowheads="1"/>
          </p:cNvSpPr>
          <p:nvPr/>
        </p:nvSpPr>
        <p:spPr bwMode="auto">
          <a:xfrm>
            <a:off x="11375670" y="748019"/>
            <a:ext cx="812363" cy="754751"/>
          </a:xfrm>
          <a:prstGeom prst="rect">
            <a:avLst/>
          </a:prstGeom>
          <a:solidFill>
            <a:srgbClr val="9ED44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2"/>
          <p:cNvSpPr>
            <a:spLocks noEditPoints="1"/>
          </p:cNvSpPr>
          <p:nvPr/>
        </p:nvSpPr>
        <p:spPr bwMode="auto">
          <a:xfrm>
            <a:off x="11600809" y="2514255"/>
            <a:ext cx="362085" cy="271895"/>
          </a:xfrm>
          <a:custGeom>
            <a:avLst/>
            <a:gdLst>
              <a:gd name="T0" fmla="*/ 787 w 859"/>
              <a:gd name="T1" fmla="*/ 107 h 644"/>
              <a:gd name="T2" fmla="*/ 787 w 859"/>
              <a:gd name="T3" fmla="*/ 573 h 644"/>
              <a:gd name="T4" fmla="*/ 537 w 859"/>
              <a:gd name="T5" fmla="*/ 573 h 644"/>
              <a:gd name="T6" fmla="*/ 465 w 859"/>
              <a:gd name="T7" fmla="*/ 644 h 644"/>
              <a:gd name="T8" fmla="*/ 859 w 859"/>
              <a:gd name="T9" fmla="*/ 644 h 644"/>
              <a:gd name="T10" fmla="*/ 859 w 859"/>
              <a:gd name="T11" fmla="*/ 107 h 644"/>
              <a:gd name="T12" fmla="*/ 787 w 859"/>
              <a:gd name="T13" fmla="*/ 107 h 644"/>
              <a:gd name="T14" fmla="*/ 476 w 859"/>
              <a:gd name="T15" fmla="*/ 476 h 644"/>
              <a:gd name="T16" fmla="*/ 383 w 859"/>
              <a:gd name="T17" fmla="*/ 476 h 644"/>
              <a:gd name="T18" fmla="*/ 373 w 859"/>
              <a:gd name="T19" fmla="*/ 465 h 644"/>
              <a:gd name="T20" fmla="*/ 179 w 859"/>
              <a:gd name="T21" fmla="*/ 465 h 644"/>
              <a:gd name="T22" fmla="*/ 179 w 859"/>
              <a:gd name="T23" fmla="*/ 71 h 644"/>
              <a:gd name="T24" fmla="*/ 344 w 859"/>
              <a:gd name="T25" fmla="*/ 71 h 644"/>
              <a:gd name="T26" fmla="*/ 393 w 859"/>
              <a:gd name="T27" fmla="*/ 96 h 644"/>
              <a:gd name="T28" fmla="*/ 393 w 859"/>
              <a:gd name="T29" fmla="*/ 358 h 644"/>
              <a:gd name="T30" fmla="*/ 465 w 859"/>
              <a:gd name="T31" fmla="*/ 358 h 644"/>
              <a:gd name="T32" fmla="*/ 465 w 859"/>
              <a:gd name="T33" fmla="*/ 96 h 644"/>
              <a:gd name="T34" fmla="*/ 515 w 859"/>
              <a:gd name="T35" fmla="*/ 71 h 644"/>
              <a:gd name="T36" fmla="*/ 680 w 859"/>
              <a:gd name="T37" fmla="*/ 71 h 644"/>
              <a:gd name="T38" fmla="*/ 680 w 859"/>
              <a:gd name="T39" fmla="*/ 465 h 644"/>
              <a:gd name="T40" fmla="*/ 486 w 859"/>
              <a:gd name="T41" fmla="*/ 465 h 644"/>
              <a:gd name="T42" fmla="*/ 476 w 859"/>
              <a:gd name="T43" fmla="*/ 476 h 644"/>
              <a:gd name="T44" fmla="*/ 752 w 859"/>
              <a:gd name="T45" fmla="*/ 537 h 644"/>
              <a:gd name="T46" fmla="*/ 752 w 859"/>
              <a:gd name="T47" fmla="*/ 0 h 644"/>
              <a:gd name="T48" fmla="*/ 486 w 859"/>
              <a:gd name="T49" fmla="*/ 0 h 644"/>
              <a:gd name="T50" fmla="*/ 476 w 859"/>
              <a:gd name="T51" fmla="*/ 10 h 644"/>
              <a:gd name="T52" fmla="*/ 383 w 859"/>
              <a:gd name="T53" fmla="*/ 10 h 644"/>
              <a:gd name="T54" fmla="*/ 373 w 859"/>
              <a:gd name="T55" fmla="*/ 0 h 644"/>
              <a:gd name="T56" fmla="*/ 107 w 859"/>
              <a:gd name="T57" fmla="*/ 0 h 644"/>
              <a:gd name="T58" fmla="*/ 107 w 859"/>
              <a:gd name="T59" fmla="*/ 537 h 644"/>
              <a:gd name="T60" fmla="*/ 344 w 859"/>
              <a:gd name="T61" fmla="*/ 537 h 644"/>
              <a:gd name="T62" fmla="*/ 429 w 859"/>
              <a:gd name="T63" fmla="*/ 566 h 644"/>
              <a:gd name="T64" fmla="*/ 515 w 859"/>
              <a:gd name="T65" fmla="*/ 537 h 644"/>
              <a:gd name="T66" fmla="*/ 752 w 859"/>
              <a:gd name="T67" fmla="*/ 537 h 644"/>
              <a:gd name="T68" fmla="*/ 71 w 859"/>
              <a:gd name="T69" fmla="*/ 573 h 644"/>
              <a:gd name="T70" fmla="*/ 71 w 859"/>
              <a:gd name="T71" fmla="*/ 107 h 644"/>
              <a:gd name="T72" fmla="*/ 0 w 859"/>
              <a:gd name="T73" fmla="*/ 107 h 644"/>
              <a:gd name="T74" fmla="*/ 0 w 859"/>
              <a:gd name="T75" fmla="*/ 644 h 644"/>
              <a:gd name="T76" fmla="*/ 394 w 859"/>
              <a:gd name="T77" fmla="*/ 644 h 644"/>
              <a:gd name="T78" fmla="*/ 322 w 859"/>
              <a:gd name="T79" fmla="*/ 573 h 644"/>
              <a:gd name="T80" fmla="*/ 71 w 859"/>
              <a:gd name="T81" fmla="*/ 573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9" h="644">
                <a:moveTo>
                  <a:pt x="787" y="107"/>
                </a:moveTo>
                <a:lnTo>
                  <a:pt x="787" y="573"/>
                </a:lnTo>
                <a:lnTo>
                  <a:pt x="537" y="573"/>
                </a:lnTo>
                <a:lnTo>
                  <a:pt x="465" y="644"/>
                </a:lnTo>
                <a:lnTo>
                  <a:pt x="859" y="644"/>
                </a:lnTo>
                <a:lnTo>
                  <a:pt x="859" y="107"/>
                </a:lnTo>
                <a:lnTo>
                  <a:pt x="787" y="107"/>
                </a:lnTo>
                <a:close/>
                <a:moveTo>
                  <a:pt x="476" y="476"/>
                </a:moveTo>
                <a:cubicBezTo>
                  <a:pt x="450" y="501"/>
                  <a:pt x="409" y="501"/>
                  <a:pt x="383" y="476"/>
                </a:cubicBezTo>
                <a:lnTo>
                  <a:pt x="373" y="465"/>
                </a:lnTo>
                <a:lnTo>
                  <a:pt x="179" y="465"/>
                </a:lnTo>
                <a:lnTo>
                  <a:pt x="179" y="71"/>
                </a:lnTo>
                <a:lnTo>
                  <a:pt x="344" y="71"/>
                </a:lnTo>
                <a:cubicBezTo>
                  <a:pt x="359" y="71"/>
                  <a:pt x="393" y="91"/>
                  <a:pt x="393" y="96"/>
                </a:cubicBezTo>
                <a:lnTo>
                  <a:pt x="393" y="358"/>
                </a:lnTo>
                <a:lnTo>
                  <a:pt x="465" y="358"/>
                </a:lnTo>
                <a:lnTo>
                  <a:pt x="465" y="96"/>
                </a:lnTo>
                <a:cubicBezTo>
                  <a:pt x="465" y="91"/>
                  <a:pt x="500" y="71"/>
                  <a:pt x="515" y="71"/>
                </a:cubicBezTo>
                <a:lnTo>
                  <a:pt x="680" y="71"/>
                </a:lnTo>
                <a:lnTo>
                  <a:pt x="680" y="465"/>
                </a:lnTo>
                <a:lnTo>
                  <a:pt x="486" y="465"/>
                </a:lnTo>
                <a:lnTo>
                  <a:pt x="476" y="476"/>
                </a:lnTo>
                <a:close/>
                <a:moveTo>
                  <a:pt x="752" y="537"/>
                </a:moveTo>
                <a:lnTo>
                  <a:pt x="752" y="0"/>
                </a:lnTo>
                <a:lnTo>
                  <a:pt x="486" y="0"/>
                </a:lnTo>
                <a:lnTo>
                  <a:pt x="476" y="10"/>
                </a:lnTo>
                <a:cubicBezTo>
                  <a:pt x="450" y="36"/>
                  <a:pt x="409" y="36"/>
                  <a:pt x="383" y="10"/>
                </a:cubicBezTo>
                <a:lnTo>
                  <a:pt x="373" y="0"/>
                </a:lnTo>
                <a:lnTo>
                  <a:pt x="107" y="0"/>
                </a:lnTo>
                <a:lnTo>
                  <a:pt x="107" y="537"/>
                </a:lnTo>
                <a:lnTo>
                  <a:pt x="344" y="537"/>
                </a:lnTo>
                <a:cubicBezTo>
                  <a:pt x="369" y="573"/>
                  <a:pt x="399" y="566"/>
                  <a:pt x="429" y="566"/>
                </a:cubicBezTo>
                <a:cubicBezTo>
                  <a:pt x="460" y="566"/>
                  <a:pt x="490" y="573"/>
                  <a:pt x="515" y="537"/>
                </a:cubicBezTo>
                <a:lnTo>
                  <a:pt x="752" y="537"/>
                </a:lnTo>
                <a:close/>
                <a:moveTo>
                  <a:pt x="71" y="573"/>
                </a:moveTo>
                <a:lnTo>
                  <a:pt x="71" y="107"/>
                </a:lnTo>
                <a:lnTo>
                  <a:pt x="0" y="107"/>
                </a:lnTo>
                <a:lnTo>
                  <a:pt x="0" y="644"/>
                </a:lnTo>
                <a:lnTo>
                  <a:pt x="394" y="644"/>
                </a:lnTo>
                <a:lnTo>
                  <a:pt x="322" y="573"/>
                </a:lnTo>
                <a:lnTo>
                  <a:pt x="71" y="5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0"/>
          <p:cNvSpPr>
            <a:spLocks noEditPoints="1"/>
          </p:cNvSpPr>
          <p:nvPr/>
        </p:nvSpPr>
        <p:spPr bwMode="auto">
          <a:xfrm>
            <a:off x="11601728" y="1744503"/>
            <a:ext cx="360248" cy="301287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8" name="Freeform 41"/>
          <p:cNvSpPr>
            <a:spLocks/>
          </p:cNvSpPr>
          <p:nvPr/>
        </p:nvSpPr>
        <p:spPr bwMode="auto">
          <a:xfrm>
            <a:off x="11600809" y="4756459"/>
            <a:ext cx="362085" cy="315984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69" name="Группа 68"/>
          <p:cNvGrpSpPr/>
          <p:nvPr/>
        </p:nvGrpSpPr>
        <p:grpSpPr>
          <a:xfrm>
            <a:off x="11614594" y="200960"/>
            <a:ext cx="334516" cy="361915"/>
            <a:chOff x="477468" y="2705515"/>
            <a:chExt cx="409903" cy="443477"/>
          </a:xfrm>
        </p:grpSpPr>
        <p:sp>
          <p:nvSpPr>
            <p:cNvPr id="70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1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72" name="Freeform 44"/>
          <p:cNvSpPr>
            <a:spLocks noEditPoints="1"/>
          </p:cNvSpPr>
          <p:nvPr/>
        </p:nvSpPr>
        <p:spPr bwMode="auto">
          <a:xfrm>
            <a:off x="11606322" y="5464056"/>
            <a:ext cx="351059" cy="380284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3" name="Freeform 45"/>
          <p:cNvSpPr>
            <a:spLocks noEditPoints="1"/>
          </p:cNvSpPr>
          <p:nvPr/>
        </p:nvSpPr>
        <p:spPr bwMode="auto">
          <a:xfrm>
            <a:off x="11601728" y="966788"/>
            <a:ext cx="360248" cy="347216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89" name="Freeform 46"/>
          <p:cNvSpPr>
            <a:spLocks noEditPoints="1"/>
          </p:cNvSpPr>
          <p:nvPr/>
        </p:nvSpPr>
        <p:spPr bwMode="auto">
          <a:xfrm>
            <a:off x="11655949" y="3977824"/>
            <a:ext cx="251807" cy="363751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5" name="Freeform 52"/>
          <p:cNvSpPr>
            <a:spLocks noEditPoints="1"/>
          </p:cNvSpPr>
          <p:nvPr/>
        </p:nvSpPr>
        <p:spPr bwMode="auto">
          <a:xfrm>
            <a:off x="11605404" y="3223075"/>
            <a:ext cx="352896" cy="36375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Freeform 53"/>
          <p:cNvSpPr>
            <a:spLocks noEditPoints="1"/>
          </p:cNvSpPr>
          <p:nvPr/>
        </p:nvSpPr>
        <p:spPr bwMode="auto">
          <a:xfrm>
            <a:off x="11594376" y="6260448"/>
            <a:ext cx="374952" cy="327005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115" name="AutoShape 4"/>
          <p:cNvSpPr>
            <a:spLocks noChangeAspect="1" noChangeArrowheads="1" noTextEdit="1"/>
          </p:cNvSpPr>
          <p:nvPr/>
        </p:nvSpPr>
        <p:spPr bwMode="auto">
          <a:xfrm>
            <a:off x="7527530" y="1876898"/>
            <a:ext cx="1151338" cy="3973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79" name="Группа 78"/>
          <p:cNvGrpSpPr/>
          <p:nvPr/>
        </p:nvGrpSpPr>
        <p:grpSpPr>
          <a:xfrm>
            <a:off x="158436" y="135663"/>
            <a:ext cx="1428304" cy="505891"/>
            <a:chOff x="254665" y="195486"/>
            <a:chExt cx="951720" cy="329081"/>
          </a:xfrm>
        </p:grpSpPr>
        <p:sp>
          <p:nvSpPr>
            <p:cNvPr id="80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3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4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5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6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7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8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0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1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2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3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4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11"/>
          <a:srcRect r="2732"/>
          <a:stretch/>
        </p:blipFill>
        <p:spPr>
          <a:xfrm>
            <a:off x="261332" y="1224063"/>
            <a:ext cx="1519060" cy="203556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8" name="TextBox 57"/>
          <p:cNvSpPr txBox="1"/>
          <p:nvPr/>
        </p:nvSpPr>
        <p:spPr>
          <a:xfrm>
            <a:off x="360176" y="697420"/>
            <a:ext cx="4371966" cy="338554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>
              <a:buClr>
                <a:srgbClr val="2D3494"/>
              </a:buClr>
              <a:defRPr sz="1600" b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ru-RU" dirty="0"/>
              <a:t>Атласы и контурные карты «Полярная Звезда»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2980408" y="103040"/>
            <a:ext cx="595073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>
                <a:solidFill>
                  <a:srgbClr val="002060"/>
                </a:solidFill>
              </a:rPr>
              <a:t>КОМПОНЕНТЫ УМК «ПОЛЯРНАЯ ЗВЕЗДА»  </a:t>
            </a:r>
            <a:endParaRPr lang="ru-RU" sz="2400" dirty="0"/>
          </a:p>
        </p:txBody>
      </p:sp>
      <p:pic>
        <p:nvPicPr>
          <p:cNvPr id="81985" name="Picture 65" descr="https://catalog.prosv.ru/images/medium/9265bc81-9b85-11de-b619-0019b9f502d2.jp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3718" y="4184451"/>
            <a:ext cx="1521988" cy="21561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Рисунок 60">
            <a:extLst>
              <a:ext uri="{FF2B5EF4-FFF2-40B4-BE49-F238E27FC236}">
                <a16:creationId xmlns:a16="http://schemas.microsoft.com/office/drawing/2014/main" xmlns="" id="{5065D0CA-B8B9-9743-9341-E8795EE4C763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8133" y="4270211"/>
            <a:ext cx="1678547" cy="226972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62" name="Рисунок 61">
            <a:extLst>
              <a:ext uri="{FF2B5EF4-FFF2-40B4-BE49-F238E27FC236}">
                <a16:creationId xmlns:a16="http://schemas.microsoft.com/office/drawing/2014/main" xmlns="" id="{495BE7CE-CA43-F844-92EB-EB1F045DE807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9203" y="1307268"/>
            <a:ext cx="1570339" cy="208267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9" name="TextBox 8"/>
          <p:cNvSpPr txBox="1"/>
          <p:nvPr/>
        </p:nvSpPr>
        <p:spPr>
          <a:xfrm>
            <a:off x="7319203" y="861917"/>
            <a:ext cx="337495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latin typeface="Carlito"/>
              </a:rPr>
              <a:t>Проверочные работы 5-9 классы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7461366" y="3660135"/>
            <a:ext cx="324172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latin typeface="Carlito"/>
              </a:rPr>
              <a:t>Практические работы  5-9 классы </a:t>
            </a:r>
          </a:p>
        </p:txBody>
      </p:sp>
      <p:pic>
        <p:nvPicPr>
          <p:cNvPr id="81993" name="Picture 73" descr="https://catalog.prosv.ru/images/big/22052407-1f2f-11e1-b339-0050569c12da.jp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105" y="4199855"/>
            <a:ext cx="1541287" cy="21407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Прямоугольник 14"/>
          <p:cNvSpPr/>
          <p:nvPr/>
        </p:nvSpPr>
        <p:spPr>
          <a:xfrm>
            <a:off x="606054" y="3639270"/>
            <a:ext cx="338766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2D3494"/>
              </a:buClr>
            </a:pPr>
            <a:r>
              <a:rPr lang="ru-RU" sz="1600" b="1" dirty="0">
                <a:latin typeface="Calibri" panose="020F0502020204030204" pitchFamily="34" charset="0"/>
                <a:cs typeface="Calibri" panose="020F0502020204030204" pitchFamily="34" charset="0"/>
              </a:rPr>
              <a:t>Рабочая тетрадь  «Мой тренажёр»</a:t>
            </a:r>
          </a:p>
        </p:txBody>
      </p:sp>
      <p:cxnSp>
        <p:nvCxnSpPr>
          <p:cNvPr id="102" name="Прямая соединительная линия 101"/>
          <p:cNvCxnSpPr/>
          <p:nvPr/>
        </p:nvCxnSpPr>
        <p:spPr>
          <a:xfrm>
            <a:off x="1669002" y="579757"/>
            <a:ext cx="9706667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2033" name="Picture 113" descr="http://qrcoder.ru/code/?https%3A%2F%2Fshop.prosv.ru%2Fkatalog%23%2Forderby%3D5%26sFilters%3D8%212497%2C2503%2C10632%2C2505%2C2506%2C2508%3B6%212361%2C2362%3B&amp;10&amp;0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1529" y="1367681"/>
            <a:ext cx="2094477" cy="20944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46239B22-0FBD-F74C-AB67-3035D3FF0BCC}"/>
              </a:ext>
            </a:extLst>
          </p:cNvPr>
          <p:cNvSpPr/>
          <p:nvPr/>
        </p:nvSpPr>
        <p:spPr>
          <a:xfrm>
            <a:off x="4842819" y="4664875"/>
            <a:ext cx="188499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hlinkClick r:id="rId17"/>
              </a:rPr>
              <a:t>https://cloud.prosv.ru/s/NGiXx7Kk2Aor7se</a:t>
            </a:r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705938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494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xmlns="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11375669" y="2257824"/>
            <a:ext cx="812363" cy="754751"/>
          </a:xfrm>
          <a:prstGeom prst="rect">
            <a:avLst/>
          </a:prstGeom>
          <a:solidFill>
            <a:srgbClr val="40D4E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3"/>
          <p:cNvSpPr>
            <a:spLocks noChangeArrowheads="1"/>
          </p:cNvSpPr>
          <p:nvPr/>
        </p:nvSpPr>
        <p:spPr bwMode="auto">
          <a:xfrm>
            <a:off x="11375669" y="5276823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4"/>
          <p:cNvSpPr>
            <a:spLocks noChangeArrowheads="1"/>
          </p:cNvSpPr>
          <p:nvPr/>
        </p:nvSpPr>
        <p:spPr bwMode="auto">
          <a:xfrm>
            <a:off x="11376586" y="4522072"/>
            <a:ext cx="812363" cy="754751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17"/>
          <p:cNvSpPr>
            <a:spLocks noChangeArrowheads="1"/>
          </p:cNvSpPr>
          <p:nvPr/>
        </p:nvSpPr>
        <p:spPr bwMode="auto">
          <a:xfrm>
            <a:off x="11375670" y="-4589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19"/>
          <p:cNvSpPr>
            <a:spLocks noChangeArrowheads="1"/>
          </p:cNvSpPr>
          <p:nvPr/>
        </p:nvSpPr>
        <p:spPr bwMode="auto">
          <a:xfrm>
            <a:off x="11376586" y="3012572"/>
            <a:ext cx="812363" cy="754751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1"/>
          <p:cNvSpPr>
            <a:spLocks noChangeArrowheads="1"/>
          </p:cNvSpPr>
          <p:nvPr/>
        </p:nvSpPr>
        <p:spPr bwMode="auto">
          <a:xfrm>
            <a:off x="11376586" y="6031572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2"/>
          <p:cNvSpPr>
            <a:spLocks noChangeArrowheads="1"/>
          </p:cNvSpPr>
          <p:nvPr/>
        </p:nvSpPr>
        <p:spPr bwMode="auto">
          <a:xfrm>
            <a:off x="11375670" y="1502768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2" name="Rectangle 25"/>
          <p:cNvSpPr>
            <a:spLocks noChangeArrowheads="1"/>
          </p:cNvSpPr>
          <p:nvPr/>
        </p:nvSpPr>
        <p:spPr bwMode="auto">
          <a:xfrm>
            <a:off x="11376586" y="3767322"/>
            <a:ext cx="812363" cy="754751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29"/>
          <p:cNvSpPr>
            <a:spLocks noChangeArrowheads="1"/>
          </p:cNvSpPr>
          <p:nvPr/>
        </p:nvSpPr>
        <p:spPr bwMode="auto">
          <a:xfrm>
            <a:off x="11375670" y="748019"/>
            <a:ext cx="812363" cy="754751"/>
          </a:xfrm>
          <a:prstGeom prst="rect">
            <a:avLst/>
          </a:prstGeom>
          <a:solidFill>
            <a:srgbClr val="9ED44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2"/>
          <p:cNvSpPr>
            <a:spLocks noEditPoints="1"/>
          </p:cNvSpPr>
          <p:nvPr/>
        </p:nvSpPr>
        <p:spPr bwMode="auto">
          <a:xfrm>
            <a:off x="11600809" y="2514255"/>
            <a:ext cx="362085" cy="271895"/>
          </a:xfrm>
          <a:custGeom>
            <a:avLst/>
            <a:gdLst>
              <a:gd name="T0" fmla="*/ 787 w 859"/>
              <a:gd name="T1" fmla="*/ 107 h 644"/>
              <a:gd name="T2" fmla="*/ 787 w 859"/>
              <a:gd name="T3" fmla="*/ 573 h 644"/>
              <a:gd name="T4" fmla="*/ 537 w 859"/>
              <a:gd name="T5" fmla="*/ 573 h 644"/>
              <a:gd name="T6" fmla="*/ 465 w 859"/>
              <a:gd name="T7" fmla="*/ 644 h 644"/>
              <a:gd name="T8" fmla="*/ 859 w 859"/>
              <a:gd name="T9" fmla="*/ 644 h 644"/>
              <a:gd name="T10" fmla="*/ 859 w 859"/>
              <a:gd name="T11" fmla="*/ 107 h 644"/>
              <a:gd name="T12" fmla="*/ 787 w 859"/>
              <a:gd name="T13" fmla="*/ 107 h 644"/>
              <a:gd name="T14" fmla="*/ 476 w 859"/>
              <a:gd name="T15" fmla="*/ 476 h 644"/>
              <a:gd name="T16" fmla="*/ 383 w 859"/>
              <a:gd name="T17" fmla="*/ 476 h 644"/>
              <a:gd name="T18" fmla="*/ 373 w 859"/>
              <a:gd name="T19" fmla="*/ 465 h 644"/>
              <a:gd name="T20" fmla="*/ 179 w 859"/>
              <a:gd name="T21" fmla="*/ 465 h 644"/>
              <a:gd name="T22" fmla="*/ 179 w 859"/>
              <a:gd name="T23" fmla="*/ 71 h 644"/>
              <a:gd name="T24" fmla="*/ 344 w 859"/>
              <a:gd name="T25" fmla="*/ 71 h 644"/>
              <a:gd name="T26" fmla="*/ 393 w 859"/>
              <a:gd name="T27" fmla="*/ 96 h 644"/>
              <a:gd name="T28" fmla="*/ 393 w 859"/>
              <a:gd name="T29" fmla="*/ 358 h 644"/>
              <a:gd name="T30" fmla="*/ 465 w 859"/>
              <a:gd name="T31" fmla="*/ 358 h 644"/>
              <a:gd name="T32" fmla="*/ 465 w 859"/>
              <a:gd name="T33" fmla="*/ 96 h 644"/>
              <a:gd name="T34" fmla="*/ 515 w 859"/>
              <a:gd name="T35" fmla="*/ 71 h 644"/>
              <a:gd name="T36" fmla="*/ 680 w 859"/>
              <a:gd name="T37" fmla="*/ 71 h 644"/>
              <a:gd name="T38" fmla="*/ 680 w 859"/>
              <a:gd name="T39" fmla="*/ 465 h 644"/>
              <a:gd name="T40" fmla="*/ 486 w 859"/>
              <a:gd name="T41" fmla="*/ 465 h 644"/>
              <a:gd name="T42" fmla="*/ 476 w 859"/>
              <a:gd name="T43" fmla="*/ 476 h 644"/>
              <a:gd name="T44" fmla="*/ 752 w 859"/>
              <a:gd name="T45" fmla="*/ 537 h 644"/>
              <a:gd name="T46" fmla="*/ 752 w 859"/>
              <a:gd name="T47" fmla="*/ 0 h 644"/>
              <a:gd name="T48" fmla="*/ 486 w 859"/>
              <a:gd name="T49" fmla="*/ 0 h 644"/>
              <a:gd name="T50" fmla="*/ 476 w 859"/>
              <a:gd name="T51" fmla="*/ 10 h 644"/>
              <a:gd name="T52" fmla="*/ 383 w 859"/>
              <a:gd name="T53" fmla="*/ 10 h 644"/>
              <a:gd name="T54" fmla="*/ 373 w 859"/>
              <a:gd name="T55" fmla="*/ 0 h 644"/>
              <a:gd name="T56" fmla="*/ 107 w 859"/>
              <a:gd name="T57" fmla="*/ 0 h 644"/>
              <a:gd name="T58" fmla="*/ 107 w 859"/>
              <a:gd name="T59" fmla="*/ 537 h 644"/>
              <a:gd name="T60" fmla="*/ 344 w 859"/>
              <a:gd name="T61" fmla="*/ 537 h 644"/>
              <a:gd name="T62" fmla="*/ 429 w 859"/>
              <a:gd name="T63" fmla="*/ 566 h 644"/>
              <a:gd name="T64" fmla="*/ 515 w 859"/>
              <a:gd name="T65" fmla="*/ 537 h 644"/>
              <a:gd name="T66" fmla="*/ 752 w 859"/>
              <a:gd name="T67" fmla="*/ 537 h 644"/>
              <a:gd name="T68" fmla="*/ 71 w 859"/>
              <a:gd name="T69" fmla="*/ 573 h 644"/>
              <a:gd name="T70" fmla="*/ 71 w 859"/>
              <a:gd name="T71" fmla="*/ 107 h 644"/>
              <a:gd name="T72" fmla="*/ 0 w 859"/>
              <a:gd name="T73" fmla="*/ 107 h 644"/>
              <a:gd name="T74" fmla="*/ 0 w 859"/>
              <a:gd name="T75" fmla="*/ 644 h 644"/>
              <a:gd name="T76" fmla="*/ 394 w 859"/>
              <a:gd name="T77" fmla="*/ 644 h 644"/>
              <a:gd name="T78" fmla="*/ 322 w 859"/>
              <a:gd name="T79" fmla="*/ 573 h 644"/>
              <a:gd name="T80" fmla="*/ 71 w 859"/>
              <a:gd name="T81" fmla="*/ 573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9" h="644">
                <a:moveTo>
                  <a:pt x="787" y="107"/>
                </a:moveTo>
                <a:lnTo>
                  <a:pt x="787" y="573"/>
                </a:lnTo>
                <a:lnTo>
                  <a:pt x="537" y="573"/>
                </a:lnTo>
                <a:lnTo>
                  <a:pt x="465" y="644"/>
                </a:lnTo>
                <a:lnTo>
                  <a:pt x="859" y="644"/>
                </a:lnTo>
                <a:lnTo>
                  <a:pt x="859" y="107"/>
                </a:lnTo>
                <a:lnTo>
                  <a:pt x="787" y="107"/>
                </a:lnTo>
                <a:close/>
                <a:moveTo>
                  <a:pt x="476" y="476"/>
                </a:moveTo>
                <a:cubicBezTo>
                  <a:pt x="450" y="501"/>
                  <a:pt x="409" y="501"/>
                  <a:pt x="383" y="476"/>
                </a:cubicBezTo>
                <a:lnTo>
                  <a:pt x="373" y="465"/>
                </a:lnTo>
                <a:lnTo>
                  <a:pt x="179" y="465"/>
                </a:lnTo>
                <a:lnTo>
                  <a:pt x="179" y="71"/>
                </a:lnTo>
                <a:lnTo>
                  <a:pt x="344" y="71"/>
                </a:lnTo>
                <a:cubicBezTo>
                  <a:pt x="359" y="71"/>
                  <a:pt x="393" y="91"/>
                  <a:pt x="393" y="96"/>
                </a:cubicBezTo>
                <a:lnTo>
                  <a:pt x="393" y="358"/>
                </a:lnTo>
                <a:lnTo>
                  <a:pt x="465" y="358"/>
                </a:lnTo>
                <a:lnTo>
                  <a:pt x="465" y="96"/>
                </a:lnTo>
                <a:cubicBezTo>
                  <a:pt x="465" y="91"/>
                  <a:pt x="500" y="71"/>
                  <a:pt x="515" y="71"/>
                </a:cubicBezTo>
                <a:lnTo>
                  <a:pt x="680" y="71"/>
                </a:lnTo>
                <a:lnTo>
                  <a:pt x="680" y="465"/>
                </a:lnTo>
                <a:lnTo>
                  <a:pt x="486" y="465"/>
                </a:lnTo>
                <a:lnTo>
                  <a:pt x="476" y="476"/>
                </a:lnTo>
                <a:close/>
                <a:moveTo>
                  <a:pt x="752" y="537"/>
                </a:moveTo>
                <a:lnTo>
                  <a:pt x="752" y="0"/>
                </a:lnTo>
                <a:lnTo>
                  <a:pt x="486" y="0"/>
                </a:lnTo>
                <a:lnTo>
                  <a:pt x="476" y="10"/>
                </a:lnTo>
                <a:cubicBezTo>
                  <a:pt x="450" y="36"/>
                  <a:pt x="409" y="36"/>
                  <a:pt x="383" y="10"/>
                </a:cubicBezTo>
                <a:lnTo>
                  <a:pt x="373" y="0"/>
                </a:lnTo>
                <a:lnTo>
                  <a:pt x="107" y="0"/>
                </a:lnTo>
                <a:lnTo>
                  <a:pt x="107" y="537"/>
                </a:lnTo>
                <a:lnTo>
                  <a:pt x="344" y="537"/>
                </a:lnTo>
                <a:cubicBezTo>
                  <a:pt x="369" y="573"/>
                  <a:pt x="399" y="566"/>
                  <a:pt x="429" y="566"/>
                </a:cubicBezTo>
                <a:cubicBezTo>
                  <a:pt x="460" y="566"/>
                  <a:pt x="490" y="573"/>
                  <a:pt x="515" y="537"/>
                </a:cubicBezTo>
                <a:lnTo>
                  <a:pt x="752" y="537"/>
                </a:lnTo>
                <a:close/>
                <a:moveTo>
                  <a:pt x="71" y="573"/>
                </a:moveTo>
                <a:lnTo>
                  <a:pt x="71" y="107"/>
                </a:lnTo>
                <a:lnTo>
                  <a:pt x="0" y="107"/>
                </a:lnTo>
                <a:lnTo>
                  <a:pt x="0" y="644"/>
                </a:lnTo>
                <a:lnTo>
                  <a:pt x="394" y="644"/>
                </a:lnTo>
                <a:lnTo>
                  <a:pt x="322" y="573"/>
                </a:lnTo>
                <a:lnTo>
                  <a:pt x="71" y="5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0"/>
          <p:cNvSpPr>
            <a:spLocks noEditPoints="1"/>
          </p:cNvSpPr>
          <p:nvPr/>
        </p:nvSpPr>
        <p:spPr bwMode="auto">
          <a:xfrm>
            <a:off x="11601728" y="1744503"/>
            <a:ext cx="360248" cy="301287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8" name="Freeform 41"/>
          <p:cNvSpPr>
            <a:spLocks/>
          </p:cNvSpPr>
          <p:nvPr/>
        </p:nvSpPr>
        <p:spPr bwMode="auto">
          <a:xfrm>
            <a:off x="11600809" y="4756459"/>
            <a:ext cx="362085" cy="315984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69" name="Группа 68"/>
          <p:cNvGrpSpPr/>
          <p:nvPr/>
        </p:nvGrpSpPr>
        <p:grpSpPr>
          <a:xfrm>
            <a:off x="11614594" y="200960"/>
            <a:ext cx="334516" cy="361915"/>
            <a:chOff x="477468" y="2705515"/>
            <a:chExt cx="409903" cy="443477"/>
          </a:xfrm>
        </p:grpSpPr>
        <p:sp>
          <p:nvSpPr>
            <p:cNvPr id="70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1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72" name="Freeform 44"/>
          <p:cNvSpPr>
            <a:spLocks noEditPoints="1"/>
          </p:cNvSpPr>
          <p:nvPr/>
        </p:nvSpPr>
        <p:spPr bwMode="auto">
          <a:xfrm>
            <a:off x="11606322" y="5464056"/>
            <a:ext cx="351059" cy="380284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3" name="Freeform 45"/>
          <p:cNvSpPr>
            <a:spLocks noEditPoints="1"/>
          </p:cNvSpPr>
          <p:nvPr/>
        </p:nvSpPr>
        <p:spPr bwMode="auto">
          <a:xfrm>
            <a:off x="11601728" y="966788"/>
            <a:ext cx="360248" cy="347216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89" name="Freeform 46"/>
          <p:cNvSpPr>
            <a:spLocks noEditPoints="1"/>
          </p:cNvSpPr>
          <p:nvPr/>
        </p:nvSpPr>
        <p:spPr bwMode="auto">
          <a:xfrm>
            <a:off x="11655949" y="3977824"/>
            <a:ext cx="251807" cy="363751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5" name="Freeform 52"/>
          <p:cNvSpPr>
            <a:spLocks noEditPoints="1"/>
          </p:cNvSpPr>
          <p:nvPr/>
        </p:nvSpPr>
        <p:spPr bwMode="auto">
          <a:xfrm>
            <a:off x="11605404" y="3223075"/>
            <a:ext cx="352896" cy="36375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Freeform 53"/>
          <p:cNvSpPr>
            <a:spLocks noEditPoints="1"/>
          </p:cNvSpPr>
          <p:nvPr/>
        </p:nvSpPr>
        <p:spPr bwMode="auto">
          <a:xfrm>
            <a:off x="11594376" y="6260448"/>
            <a:ext cx="374952" cy="327005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115" name="AutoShape 4"/>
          <p:cNvSpPr>
            <a:spLocks noChangeAspect="1" noChangeArrowheads="1" noTextEdit="1"/>
          </p:cNvSpPr>
          <p:nvPr/>
        </p:nvSpPr>
        <p:spPr bwMode="auto">
          <a:xfrm>
            <a:off x="7527530" y="1876898"/>
            <a:ext cx="1151338" cy="3973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79" name="Группа 78"/>
          <p:cNvGrpSpPr/>
          <p:nvPr/>
        </p:nvGrpSpPr>
        <p:grpSpPr>
          <a:xfrm>
            <a:off x="158436" y="135663"/>
            <a:ext cx="1428304" cy="505891"/>
            <a:chOff x="254665" y="195486"/>
            <a:chExt cx="951720" cy="329081"/>
          </a:xfrm>
        </p:grpSpPr>
        <p:sp>
          <p:nvSpPr>
            <p:cNvPr id="80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3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4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5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6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7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8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0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1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2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3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4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980408" y="103040"/>
            <a:ext cx="595073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>
                <a:solidFill>
                  <a:srgbClr val="002060"/>
                </a:solidFill>
              </a:rPr>
              <a:t>КОМПОНЕНТЫ УМК «ПОЛЯРНАЯ ЗВЕЗДА»  </a:t>
            </a:r>
            <a:endParaRPr lang="ru-RU" sz="2400" dirty="0"/>
          </a:p>
        </p:txBody>
      </p:sp>
      <p:cxnSp>
        <p:nvCxnSpPr>
          <p:cNvPr id="102" name="Прямая соединительная линия 101"/>
          <p:cNvCxnSpPr/>
          <p:nvPr/>
        </p:nvCxnSpPr>
        <p:spPr>
          <a:xfrm>
            <a:off x="1669002" y="579757"/>
            <a:ext cx="9706667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8484" name="Picture 4">
            <a:extLst>
              <a:ext uri="{FF2B5EF4-FFF2-40B4-BE49-F238E27FC236}">
                <a16:creationId xmlns:a16="http://schemas.microsoft.com/office/drawing/2014/main" xmlns="" id="{6A638310-30ED-D04A-9348-8DEDA20E65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2297" y="1063122"/>
            <a:ext cx="5885590" cy="3836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8485" name="Picture 5">
            <a:extLst>
              <a:ext uri="{FF2B5EF4-FFF2-40B4-BE49-F238E27FC236}">
                <a16:creationId xmlns:a16="http://schemas.microsoft.com/office/drawing/2014/main" xmlns="" id="{8FF361AD-29D3-8C45-96BF-B8B3993080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5452" y="2367373"/>
            <a:ext cx="6204720" cy="40565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8486" name="Picture 6">
            <a:extLst>
              <a:ext uri="{FF2B5EF4-FFF2-40B4-BE49-F238E27FC236}">
                <a16:creationId xmlns:a16="http://schemas.microsoft.com/office/drawing/2014/main" xmlns="" id="{B6F2C8E0-F9D4-8441-A6AC-3AAE8C7B92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16463" y="-2682875"/>
            <a:ext cx="6337300" cy="1435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8487" name="Picture 7">
            <a:extLst>
              <a:ext uri="{FF2B5EF4-FFF2-40B4-BE49-F238E27FC236}">
                <a16:creationId xmlns:a16="http://schemas.microsoft.com/office/drawing/2014/main" xmlns="" id="{B2013205-2BFE-CA45-82E9-CCA143DD44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93463" y="-2682875"/>
            <a:ext cx="6565900" cy="1765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A85DC913-4AEF-E34E-A471-4911DBD74C99}"/>
              </a:ext>
            </a:extLst>
          </p:cNvPr>
          <p:cNvSpPr/>
          <p:nvPr/>
        </p:nvSpPr>
        <p:spPr>
          <a:xfrm>
            <a:off x="6393945" y="931676"/>
            <a:ext cx="4560674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ru-RU" sz="1600" b="1" i="1" dirty="0">
                <a:solidFill>
                  <a:srgbClr val="283890"/>
                </a:solidFill>
                <a:latin typeface="Calibri" panose="020F0502020204030204" pitchFamily="34" charset="0"/>
              </a:rPr>
              <a:t>Дифференцированная система проверки знаний  и выработки умений и навыков</a:t>
            </a:r>
            <a:endParaRPr lang="ru-RU" sz="1600" dirty="0"/>
          </a:p>
          <a:p>
            <a:pPr>
              <a:buFont typeface="Arial" panose="020B0604020202020204" pitchFamily="34" charset="0"/>
              <a:buChar char="•"/>
            </a:pPr>
            <a:endParaRPr lang="ru-RU" sz="1600" dirty="0"/>
          </a:p>
          <a:p>
            <a:pPr>
              <a:buFont typeface="Arial" panose="020B0604020202020204" pitchFamily="34" charset="0"/>
              <a:buChar char="•"/>
            </a:pPr>
            <a:r>
              <a:rPr lang="ru-RU" sz="1600" b="1" i="1" dirty="0">
                <a:solidFill>
                  <a:srgbClr val="283890"/>
                </a:solidFill>
                <a:latin typeface="Calibri" panose="020F0502020204030204" pitchFamily="34" charset="0"/>
              </a:rPr>
              <a:t>Включённая практическая деятельность «Шаг за шагом», Учимся с «Полярной звездой»</a:t>
            </a:r>
            <a:endParaRPr lang="ru-RU" sz="1600" dirty="0">
              <a:effectLst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xmlns="" id="{3AF1961A-85A6-3C4A-B04C-21EF71406AAF}"/>
              </a:ext>
            </a:extLst>
          </p:cNvPr>
          <p:cNvSpPr/>
          <p:nvPr/>
        </p:nvSpPr>
        <p:spPr>
          <a:xfrm>
            <a:off x="154835" y="5303481"/>
            <a:ext cx="6096000" cy="861774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ru-RU" sz="1600" b="1" i="1" dirty="0" err="1">
                <a:solidFill>
                  <a:srgbClr val="283890"/>
                </a:solidFill>
                <a:latin typeface="Calibri" panose="020F0502020204030204" pitchFamily="34" charset="0"/>
              </a:rPr>
              <a:t>Деятельностная</a:t>
            </a:r>
            <a:r>
              <a:rPr lang="ru-RU" sz="1600" b="1" i="1" dirty="0">
                <a:solidFill>
                  <a:srgbClr val="283890"/>
                </a:solidFill>
                <a:latin typeface="Calibri" panose="020F0502020204030204" pitchFamily="34" charset="0"/>
              </a:rPr>
              <a:t> структура параграфов</a:t>
            </a:r>
            <a:endParaRPr lang="ru-RU" sz="1600" dirty="0"/>
          </a:p>
          <a:p>
            <a:pPr>
              <a:buFont typeface="Arial" panose="020B0604020202020204" pitchFamily="34" charset="0"/>
              <a:buChar char="•"/>
            </a:pPr>
            <a:endParaRPr lang="ru-RU" sz="1600" dirty="0"/>
          </a:p>
          <a:p>
            <a:pPr>
              <a:buFont typeface="Arial" panose="020B0604020202020204" pitchFamily="34" charset="0"/>
              <a:buChar char="•"/>
            </a:pPr>
            <a:r>
              <a:rPr lang="ru-RU" sz="1600" b="1" i="1" dirty="0">
                <a:solidFill>
                  <a:srgbClr val="283890"/>
                </a:solidFill>
                <a:latin typeface="Calibri" panose="020F0502020204030204" pitchFamily="34" charset="0"/>
              </a:rPr>
              <a:t>Система подготовки к ГИА: «Лёгкий экзамен»</a:t>
            </a:r>
            <a:endParaRPr lang="ru-RU" sz="1600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6616663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13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xmlns="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11375669" y="2257824"/>
            <a:ext cx="812363" cy="754751"/>
          </a:xfrm>
          <a:prstGeom prst="rect">
            <a:avLst/>
          </a:prstGeom>
          <a:solidFill>
            <a:srgbClr val="40D4E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3"/>
          <p:cNvSpPr>
            <a:spLocks noChangeArrowheads="1"/>
          </p:cNvSpPr>
          <p:nvPr/>
        </p:nvSpPr>
        <p:spPr bwMode="auto">
          <a:xfrm>
            <a:off x="11375669" y="5276823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4"/>
          <p:cNvSpPr>
            <a:spLocks noChangeArrowheads="1"/>
          </p:cNvSpPr>
          <p:nvPr/>
        </p:nvSpPr>
        <p:spPr bwMode="auto">
          <a:xfrm>
            <a:off x="11376586" y="4522072"/>
            <a:ext cx="812363" cy="754751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17"/>
          <p:cNvSpPr>
            <a:spLocks noChangeArrowheads="1"/>
          </p:cNvSpPr>
          <p:nvPr/>
        </p:nvSpPr>
        <p:spPr bwMode="auto">
          <a:xfrm>
            <a:off x="11375670" y="-4589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19"/>
          <p:cNvSpPr>
            <a:spLocks noChangeArrowheads="1"/>
          </p:cNvSpPr>
          <p:nvPr/>
        </p:nvSpPr>
        <p:spPr bwMode="auto">
          <a:xfrm>
            <a:off x="11376586" y="3012572"/>
            <a:ext cx="812363" cy="754751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1"/>
          <p:cNvSpPr>
            <a:spLocks noChangeArrowheads="1"/>
          </p:cNvSpPr>
          <p:nvPr/>
        </p:nvSpPr>
        <p:spPr bwMode="auto">
          <a:xfrm>
            <a:off x="11376586" y="6031572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2"/>
          <p:cNvSpPr>
            <a:spLocks noChangeArrowheads="1"/>
          </p:cNvSpPr>
          <p:nvPr/>
        </p:nvSpPr>
        <p:spPr bwMode="auto">
          <a:xfrm>
            <a:off x="11375670" y="1502768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2" name="Rectangle 25"/>
          <p:cNvSpPr>
            <a:spLocks noChangeArrowheads="1"/>
          </p:cNvSpPr>
          <p:nvPr/>
        </p:nvSpPr>
        <p:spPr bwMode="auto">
          <a:xfrm>
            <a:off x="11376586" y="3767322"/>
            <a:ext cx="812363" cy="754751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29"/>
          <p:cNvSpPr>
            <a:spLocks noChangeArrowheads="1"/>
          </p:cNvSpPr>
          <p:nvPr/>
        </p:nvSpPr>
        <p:spPr bwMode="auto">
          <a:xfrm>
            <a:off x="11375670" y="748019"/>
            <a:ext cx="812363" cy="754751"/>
          </a:xfrm>
          <a:prstGeom prst="rect">
            <a:avLst/>
          </a:prstGeom>
          <a:solidFill>
            <a:srgbClr val="9ED44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2"/>
          <p:cNvSpPr>
            <a:spLocks noEditPoints="1"/>
          </p:cNvSpPr>
          <p:nvPr/>
        </p:nvSpPr>
        <p:spPr bwMode="auto">
          <a:xfrm>
            <a:off x="11600809" y="2514255"/>
            <a:ext cx="362085" cy="271895"/>
          </a:xfrm>
          <a:custGeom>
            <a:avLst/>
            <a:gdLst>
              <a:gd name="T0" fmla="*/ 787 w 859"/>
              <a:gd name="T1" fmla="*/ 107 h 644"/>
              <a:gd name="T2" fmla="*/ 787 w 859"/>
              <a:gd name="T3" fmla="*/ 573 h 644"/>
              <a:gd name="T4" fmla="*/ 537 w 859"/>
              <a:gd name="T5" fmla="*/ 573 h 644"/>
              <a:gd name="T6" fmla="*/ 465 w 859"/>
              <a:gd name="T7" fmla="*/ 644 h 644"/>
              <a:gd name="T8" fmla="*/ 859 w 859"/>
              <a:gd name="T9" fmla="*/ 644 h 644"/>
              <a:gd name="T10" fmla="*/ 859 w 859"/>
              <a:gd name="T11" fmla="*/ 107 h 644"/>
              <a:gd name="T12" fmla="*/ 787 w 859"/>
              <a:gd name="T13" fmla="*/ 107 h 644"/>
              <a:gd name="T14" fmla="*/ 476 w 859"/>
              <a:gd name="T15" fmla="*/ 476 h 644"/>
              <a:gd name="T16" fmla="*/ 383 w 859"/>
              <a:gd name="T17" fmla="*/ 476 h 644"/>
              <a:gd name="T18" fmla="*/ 373 w 859"/>
              <a:gd name="T19" fmla="*/ 465 h 644"/>
              <a:gd name="T20" fmla="*/ 179 w 859"/>
              <a:gd name="T21" fmla="*/ 465 h 644"/>
              <a:gd name="T22" fmla="*/ 179 w 859"/>
              <a:gd name="T23" fmla="*/ 71 h 644"/>
              <a:gd name="T24" fmla="*/ 344 w 859"/>
              <a:gd name="T25" fmla="*/ 71 h 644"/>
              <a:gd name="T26" fmla="*/ 393 w 859"/>
              <a:gd name="T27" fmla="*/ 96 h 644"/>
              <a:gd name="T28" fmla="*/ 393 w 859"/>
              <a:gd name="T29" fmla="*/ 358 h 644"/>
              <a:gd name="T30" fmla="*/ 465 w 859"/>
              <a:gd name="T31" fmla="*/ 358 h 644"/>
              <a:gd name="T32" fmla="*/ 465 w 859"/>
              <a:gd name="T33" fmla="*/ 96 h 644"/>
              <a:gd name="T34" fmla="*/ 515 w 859"/>
              <a:gd name="T35" fmla="*/ 71 h 644"/>
              <a:gd name="T36" fmla="*/ 680 w 859"/>
              <a:gd name="T37" fmla="*/ 71 h 644"/>
              <a:gd name="T38" fmla="*/ 680 w 859"/>
              <a:gd name="T39" fmla="*/ 465 h 644"/>
              <a:gd name="T40" fmla="*/ 486 w 859"/>
              <a:gd name="T41" fmla="*/ 465 h 644"/>
              <a:gd name="T42" fmla="*/ 476 w 859"/>
              <a:gd name="T43" fmla="*/ 476 h 644"/>
              <a:gd name="T44" fmla="*/ 752 w 859"/>
              <a:gd name="T45" fmla="*/ 537 h 644"/>
              <a:gd name="T46" fmla="*/ 752 w 859"/>
              <a:gd name="T47" fmla="*/ 0 h 644"/>
              <a:gd name="T48" fmla="*/ 486 w 859"/>
              <a:gd name="T49" fmla="*/ 0 h 644"/>
              <a:gd name="T50" fmla="*/ 476 w 859"/>
              <a:gd name="T51" fmla="*/ 10 h 644"/>
              <a:gd name="T52" fmla="*/ 383 w 859"/>
              <a:gd name="T53" fmla="*/ 10 h 644"/>
              <a:gd name="T54" fmla="*/ 373 w 859"/>
              <a:gd name="T55" fmla="*/ 0 h 644"/>
              <a:gd name="T56" fmla="*/ 107 w 859"/>
              <a:gd name="T57" fmla="*/ 0 h 644"/>
              <a:gd name="T58" fmla="*/ 107 w 859"/>
              <a:gd name="T59" fmla="*/ 537 h 644"/>
              <a:gd name="T60" fmla="*/ 344 w 859"/>
              <a:gd name="T61" fmla="*/ 537 h 644"/>
              <a:gd name="T62" fmla="*/ 429 w 859"/>
              <a:gd name="T63" fmla="*/ 566 h 644"/>
              <a:gd name="T64" fmla="*/ 515 w 859"/>
              <a:gd name="T65" fmla="*/ 537 h 644"/>
              <a:gd name="T66" fmla="*/ 752 w 859"/>
              <a:gd name="T67" fmla="*/ 537 h 644"/>
              <a:gd name="T68" fmla="*/ 71 w 859"/>
              <a:gd name="T69" fmla="*/ 573 h 644"/>
              <a:gd name="T70" fmla="*/ 71 w 859"/>
              <a:gd name="T71" fmla="*/ 107 h 644"/>
              <a:gd name="T72" fmla="*/ 0 w 859"/>
              <a:gd name="T73" fmla="*/ 107 h 644"/>
              <a:gd name="T74" fmla="*/ 0 w 859"/>
              <a:gd name="T75" fmla="*/ 644 h 644"/>
              <a:gd name="T76" fmla="*/ 394 w 859"/>
              <a:gd name="T77" fmla="*/ 644 h 644"/>
              <a:gd name="T78" fmla="*/ 322 w 859"/>
              <a:gd name="T79" fmla="*/ 573 h 644"/>
              <a:gd name="T80" fmla="*/ 71 w 859"/>
              <a:gd name="T81" fmla="*/ 573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9" h="644">
                <a:moveTo>
                  <a:pt x="787" y="107"/>
                </a:moveTo>
                <a:lnTo>
                  <a:pt x="787" y="573"/>
                </a:lnTo>
                <a:lnTo>
                  <a:pt x="537" y="573"/>
                </a:lnTo>
                <a:lnTo>
                  <a:pt x="465" y="644"/>
                </a:lnTo>
                <a:lnTo>
                  <a:pt x="859" y="644"/>
                </a:lnTo>
                <a:lnTo>
                  <a:pt x="859" y="107"/>
                </a:lnTo>
                <a:lnTo>
                  <a:pt x="787" y="107"/>
                </a:lnTo>
                <a:close/>
                <a:moveTo>
                  <a:pt x="476" y="476"/>
                </a:moveTo>
                <a:cubicBezTo>
                  <a:pt x="450" y="501"/>
                  <a:pt x="409" y="501"/>
                  <a:pt x="383" y="476"/>
                </a:cubicBezTo>
                <a:lnTo>
                  <a:pt x="373" y="465"/>
                </a:lnTo>
                <a:lnTo>
                  <a:pt x="179" y="465"/>
                </a:lnTo>
                <a:lnTo>
                  <a:pt x="179" y="71"/>
                </a:lnTo>
                <a:lnTo>
                  <a:pt x="344" y="71"/>
                </a:lnTo>
                <a:cubicBezTo>
                  <a:pt x="359" y="71"/>
                  <a:pt x="393" y="91"/>
                  <a:pt x="393" y="96"/>
                </a:cubicBezTo>
                <a:lnTo>
                  <a:pt x="393" y="358"/>
                </a:lnTo>
                <a:lnTo>
                  <a:pt x="465" y="358"/>
                </a:lnTo>
                <a:lnTo>
                  <a:pt x="465" y="96"/>
                </a:lnTo>
                <a:cubicBezTo>
                  <a:pt x="465" y="91"/>
                  <a:pt x="500" y="71"/>
                  <a:pt x="515" y="71"/>
                </a:cubicBezTo>
                <a:lnTo>
                  <a:pt x="680" y="71"/>
                </a:lnTo>
                <a:lnTo>
                  <a:pt x="680" y="465"/>
                </a:lnTo>
                <a:lnTo>
                  <a:pt x="486" y="465"/>
                </a:lnTo>
                <a:lnTo>
                  <a:pt x="476" y="476"/>
                </a:lnTo>
                <a:close/>
                <a:moveTo>
                  <a:pt x="752" y="537"/>
                </a:moveTo>
                <a:lnTo>
                  <a:pt x="752" y="0"/>
                </a:lnTo>
                <a:lnTo>
                  <a:pt x="486" y="0"/>
                </a:lnTo>
                <a:lnTo>
                  <a:pt x="476" y="10"/>
                </a:lnTo>
                <a:cubicBezTo>
                  <a:pt x="450" y="36"/>
                  <a:pt x="409" y="36"/>
                  <a:pt x="383" y="10"/>
                </a:cubicBezTo>
                <a:lnTo>
                  <a:pt x="373" y="0"/>
                </a:lnTo>
                <a:lnTo>
                  <a:pt x="107" y="0"/>
                </a:lnTo>
                <a:lnTo>
                  <a:pt x="107" y="537"/>
                </a:lnTo>
                <a:lnTo>
                  <a:pt x="344" y="537"/>
                </a:lnTo>
                <a:cubicBezTo>
                  <a:pt x="369" y="573"/>
                  <a:pt x="399" y="566"/>
                  <a:pt x="429" y="566"/>
                </a:cubicBezTo>
                <a:cubicBezTo>
                  <a:pt x="460" y="566"/>
                  <a:pt x="490" y="573"/>
                  <a:pt x="515" y="537"/>
                </a:cubicBezTo>
                <a:lnTo>
                  <a:pt x="752" y="537"/>
                </a:lnTo>
                <a:close/>
                <a:moveTo>
                  <a:pt x="71" y="573"/>
                </a:moveTo>
                <a:lnTo>
                  <a:pt x="71" y="107"/>
                </a:lnTo>
                <a:lnTo>
                  <a:pt x="0" y="107"/>
                </a:lnTo>
                <a:lnTo>
                  <a:pt x="0" y="644"/>
                </a:lnTo>
                <a:lnTo>
                  <a:pt x="394" y="644"/>
                </a:lnTo>
                <a:lnTo>
                  <a:pt x="322" y="573"/>
                </a:lnTo>
                <a:lnTo>
                  <a:pt x="71" y="5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0"/>
          <p:cNvSpPr>
            <a:spLocks noEditPoints="1"/>
          </p:cNvSpPr>
          <p:nvPr/>
        </p:nvSpPr>
        <p:spPr bwMode="auto">
          <a:xfrm>
            <a:off x="11601728" y="1744503"/>
            <a:ext cx="360248" cy="301287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8" name="Freeform 41"/>
          <p:cNvSpPr>
            <a:spLocks/>
          </p:cNvSpPr>
          <p:nvPr/>
        </p:nvSpPr>
        <p:spPr bwMode="auto">
          <a:xfrm>
            <a:off x="11600809" y="4756459"/>
            <a:ext cx="362085" cy="315984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69" name="Группа 68"/>
          <p:cNvGrpSpPr/>
          <p:nvPr/>
        </p:nvGrpSpPr>
        <p:grpSpPr>
          <a:xfrm>
            <a:off x="11614594" y="200960"/>
            <a:ext cx="334516" cy="361915"/>
            <a:chOff x="477468" y="2705515"/>
            <a:chExt cx="409903" cy="443477"/>
          </a:xfrm>
        </p:grpSpPr>
        <p:sp>
          <p:nvSpPr>
            <p:cNvPr id="70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1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72" name="Freeform 44"/>
          <p:cNvSpPr>
            <a:spLocks noEditPoints="1"/>
          </p:cNvSpPr>
          <p:nvPr/>
        </p:nvSpPr>
        <p:spPr bwMode="auto">
          <a:xfrm>
            <a:off x="11606322" y="5464056"/>
            <a:ext cx="351059" cy="380284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3" name="Freeform 45"/>
          <p:cNvSpPr>
            <a:spLocks noEditPoints="1"/>
          </p:cNvSpPr>
          <p:nvPr/>
        </p:nvSpPr>
        <p:spPr bwMode="auto">
          <a:xfrm>
            <a:off x="11601728" y="966788"/>
            <a:ext cx="360248" cy="347216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89" name="Freeform 46"/>
          <p:cNvSpPr>
            <a:spLocks noEditPoints="1"/>
          </p:cNvSpPr>
          <p:nvPr/>
        </p:nvSpPr>
        <p:spPr bwMode="auto">
          <a:xfrm>
            <a:off x="11655949" y="3977824"/>
            <a:ext cx="251807" cy="363751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5" name="Freeform 52"/>
          <p:cNvSpPr>
            <a:spLocks noEditPoints="1"/>
          </p:cNvSpPr>
          <p:nvPr/>
        </p:nvSpPr>
        <p:spPr bwMode="auto">
          <a:xfrm>
            <a:off x="11605404" y="3223075"/>
            <a:ext cx="352896" cy="36375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Freeform 53"/>
          <p:cNvSpPr>
            <a:spLocks noEditPoints="1"/>
          </p:cNvSpPr>
          <p:nvPr/>
        </p:nvSpPr>
        <p:spPr bwMode="auto">
          <a:xfrm>
            <a:off x="11594376" y="6260448"/>
            <a:ext cx="374952" cy="327005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115" name="AutoShape 4"/>
          <p:cNvSpPr>
            <a:spLocks noChangeAspect="1" noChangeArrowheads="1" noTextEdit="1"/>
          </p:cNvSpPr>
          <p:nvPr/>
        </p:nvSpPr>
        <p:spPr bwMode="auto">
          <a:xfrm>
            <a:off x="5844301" y="1808388"/>
            <a:ext cx="918665" cy="317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8" name="Рисунок 3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9990" y="1698734"/>
            <a:ext cx="1601596" cy="2112944"/>
          </a:xfrm>
          <a:prstGeom prst="rect">
            <a:avLst/>
          </a:prstGeom>
        </p:spPr>
      </p:pic>
      <p:pic>
        <p:nvPicPr>
          <p:cNvPr id="39" name="Рисунок 3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710" y="1904482"/>
            <a:ext cx="1626354" cy="2145605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5805402" y="1567550"/>
            <a:ext cx="5020047" cy="353943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ru-RU" sz="1600" b="1" i="1" dirty="0"/>
              <a:t>Ключевые преимущества обновлённых учебников</a:t>
            </a:r>
            <a:endParaRPr lang="ru-RU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/>
              <a:t>методический аппарат, позволяющий адаптировать  учебный процесс для развития практических умений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/>
              <a:t>формирование  всех типов универсальных учебных действий через систему практикумов, ориентированных на исследовательскую, творческую деятельность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/>
              <a:t>краеведческий подход в курсе «География России»</a:t>
            </a:r>
          </a:p>
          <a:p>
            <a:endParaRPr lang="ru-RU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1" dirty="0"/>
              <a:t>Обновлен формат учебников 5-9 классов:</a:t>
            </a:r>
          </a:p>
          <a:p>
            <a:r>
              <a:rPr lang="ru-RU" sz="1600" dirty="0"/>
              <a:t>      - представлена более современная информация</a:t>
            </a:r>
          </a:p>
          <a:p>
            <a:r>
              <a:rPr lang="ru-RU" sz="1600" dirty="0"/>
              <a:t>       - облегчен текст изложения материала для более  </a:t>
            </a:r>
          </a:p>
          <a:p>
            <a:r>
              <a:rPr lang="ru-RU" sz="1600" dirty="0"/>
              <a:t>         полного смыслового понимания учащимися</a:t>
            </a:r>
          </a:p>
        </p:txBody>
      </p:sp>
      <p:grpSp>
        <p:nvGrpSpPr>
          <p:cNvPr id="51" name="Группа 50"/>
          <p:cNvGrpSpPr/>
          <p:nvPr/>
        </p:nvGrpSpPr>
        <p:grpSpPr>
          <a:xfrm>
            <a:off x="79177" y="374333"/>
            <a:ext cx="1465538" cy="467837"/>
            <a:chOff x="254665" y="195486"/>
            <a:chExt cx="951720" cy="329081"/>
          </a:xfrm>
        </p:grpSpPr>
        <p:sp>
          <p:nvSpPr>
            <p:cNvPr id="53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76" name="object 46"/>
          <p:cNvSpPr/>
          <p:nvPr/>
        </p:nvSpPr>
        <p:spPr>
          <a:xfrm>
            <a:off x="3519501" y="1961165"/>
            <a:ext cx="1722905" cy="2088501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" name="object 39"/>
          <p:cNvSpPr txBox="1"/>
          <p:nvPr/>
        </p:nvSpPr>
        <p:spPr>
          <a:xfrm>
            <a:off x="3603694" y="4340946"/>
            <a:ext cx="1638712" cy="170560"/>
          </a:xfrm>
          <a:prstGeom prst="rect">
            <a:avLst/>
          </a:prstGeom>
          <a:solidFill>
            <a:srgbClr val="2C3493"/>
          </a:solidFill>
        </p:spPr>
        <p:txBody>
          <a:bodyPr vert="horz" wrap="square" lIns="0" tIns="1270" rIns="0" bIns="0" rtlCol="0">
            <a:spAutoFit/>
          </a:bodyPr>
          <a:lstStyle/>
          <a:p>
            <a:pPr marL="199390">
              <a:lnSpc>
                <a:spcPct val="100000"/>
              </a:lnSpc>
              <a:spcBef>
                <a:spcPts val="5"/>
              </a:spcBef>
            </a:pPr>
            <a:r>
              <a:rPr sz="1100" b="1" spc="-5" dirty="0">
                <a:solidFill>
                  <a:srgbClr val="FFFFFF"/>
                </a:solidFill>
                <a:latin typeface="Carlito"/>
                <a:cs typeface="Carlito"/>
              </a:rPr>
              <a:t>ФП №</a:t>
            </a:r>
            <a:r>
              <a:rPr sz="1100" b="1" spc="210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1100" b="1" spc="-10" dirty="0">
                <a:solidFill>
                  <a:srgbClr val="FFFFFF"/>
                </a:solidFill>
                <a:latin typeface="Carlito"/>
                <a:cs typeface="Carlito"/>
              </a:rPr>
              <a:t>1.</a:t>
            </a:r>
            <a:r>
              <a:rPr lang="ru-RU" sz="1100" b="1" spc="-10" dirty="0">
                <a:solidFill>
                  <a:srgbClr val="FFFFFF"/>
                </a:solidFill>
                <a:latin typeface="Carlito"/>
                <a:cs typeface="Carlito"/>
              </a:rPr>
              <a:t>1</a:t>
            </a:r>
            <a:r>
              <a:rPr sz="1100" b="1" spc="-10" dirty="0">
                <a:solidFill>
                  <a:srgbClr val="FFFFFF"/>
                </a:solidFill>
                <a:latin typeface="Carlito"/>
                <a:cs typeface="Carlito"/>
              </a:rPr>
              <a:t>.3.3.</a:t>
            </a:r>
            <a:r>
              <a:rPr lang="ru-RU" sz="1100" b="1" spc="-10" dirty="0">
                <a:solidFill>
                  <a:srgbClr val="FFFFFF"/>
                </a:solidFill>
                <a:latin typeface="Carlito"/>
                <a:cs typeface="Carlito"/>
              </a:rPr>
              <a:t>2.</a:t>
            </a:r>
            <a:r>
              <a:rPr sz="1100" b="1" spc="-10" dirty="0">
                <a:solidFill>
                  <a:srgbClr val="FFFFFF"/>
                </a:solidFill>
                <a:latin typeface="Carlito"/>
                <a:cs typeface="Carlito"/>
              </a:rPr>
              <a:t>1.1</a:t>
            </a:r>
            <a:endParaRPr sz="1100" dirty="0">
              <a:latin typeface="Carlito"/>
              <a:cs typeface="Carlito"/>
            </a:endParaRPr>
          </a:p>
        </p:txBody>
      </p:sp>
      <p:sp>
        <p:nvSpPr>
          <p:cNvPr id="78" name="Прямоугольник 77"/>
          <p:cNvSpPr/>
          <p:nvPr/>
        </p:nvSpPr>
        <p:spPr>
          <a:xfrm>
            <a:off x="1773650" y="64309"/>
            <a:ext cx="971945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rgbClr val="002060"/>
                </a:solidFill>
              </a:rPr>
              <a:t>УМК «Роза ветров» -  реализация практико-ориентированного подход для успешного достижения высоких образовательных результатов 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363114" y="1063173"/>
            <a:ext cx="51784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  <a:latin typeface="Carlito"/>
              </a:rPr>
              <a:t>ЛИНИЯ УМК «РОЗА ВЕТРОВ» 5-11 классы </a:t>
            </a:r>
          </a:p>
        </p:txBody>
      </p:sp>
      <p:sp>
        <p:nvSpPr>
          <p:cNvPr id="80" name="Подзаголовок 3"/>
          <p:cNvSpPr txBox="1">
            <a:spLocks/>
          </p:cNvSpPr>
          <p:nvPr/>
        </p:nvSpPr>
        <p:spPr>
          <a:xfrm>
            <a:off x="296710" y="5072443"/>
            <a:ext cx="2216989" cy="1014248"/>
          </a:xfrm>
          <a:prstGeom prst="rect">
            <a:avLst/>
          </a:prstGeom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b="1" dirty="0">
                <a:latin typeface="Calibri" panose="020F0502020204030204" pitchFamily="34" charset="0"/>
                <a:cs typeface="Calibri" panose="020F0502020204030204" pitchFamily="34" charset="0"/>
              </a:rPr>
              <a:t>Состав УМК:</a:t>
            </a:r>
          </a:p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методические пособия</a:t>
            </a:r>
          </a:p>
          <a:p>
            <a:pPr marL="180975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рабочая программа</a:t>
            </a:r>
          </a:p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ЭФУ</a:t>
            </a:r>
          </a:p>
        </p:txBody>
      </p:sp>
      <p:sp>
        <p:nvSpPr>
          <p:cNvPr id="81" name="Подзаголовок 3"/>
          <p:cNvSpPr txBox="1">
            <a:spLocks/>
          </p:cNvSpPr>
          <p:nvPr/>
        </p:nvSpPr>
        <p:spPr>
          <a:xfrm>
            <a:off x="2513699" y="5072823"/>
            <a:ext cx="3062885" cy="1014248"/>
          </a:xfrm>
          <a:prstGeom prst="rect">
            <a:avLst/>
          </a:prstGeom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рабочие тетради</a:t>
            </a:r>
          </a:p>
          <a:p>
            <a:pPr marL="180975" lvl="0" indent="-180975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тематические контрольные работы</a:t>
            </a:r>
          </a:p>
        </p:txBody>
      </p:sp>
      <p:cxnSp>
        <p:nvCxnSpPr>
          <p:cNvPr id="82" name="Прямая соединительная линия 81"/>
          <p:cNvCxnSpPr/>
          <p:nvPr/>
        </p:nvCxnSpPr>
        <p:spPr>
          <a:xfrm>
            <a:off x="1649818" y="855747"/>
            <a:ext cx="9706667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object 39"/>
          <p:cNvSpPr txBox="1"/>
          <p:nvPr/>
        </p:nvSpPr>
        <p:spPr>
          <a:xfrm>
            <a:off x="398505" y="4340947"/>
            <a:ext cx="2885591" cy="170560"/>
          </a:xfrm>
          <a:prstGeom prst="rect">
            <a:avLst/>
          </a:prstGeom>
          <a:solidFill>
            <a:srgbClr val="2C3493"/>
          </a:solidFill>
        </p:spPr>
        <p:txBody>
          <a:bodyPr vert="horz" wrap="square" lIns="0" tIns="1270" rIns="0" bIns="0" rtlCol="0">
            <a:spAutoFit/>
          </a:bodyPr>
          <a:lstStyle/>
          <a:p>
            <a:pPr marL="199390">
              <a:lnSpc>
                <a:spcPct val="100000"/>
              </a:lnSpc>
              <a:spcBef>
                <a:spcPts val="5"/>
              </a:spcBef>
            </a:pPr>
            <a:r>
              <a:rPr lang="ru-RU" sz="1100" b="1" spc="-5" dirty="0">
                <a:solidFill>
                  <a:srgbClr val="FFFFFF"/>
                </a:solidFill>
                <a:latin typeface="Carlito"/>
                <a:cs typeface="Carlito"/>
              </a:rPr>
              <a:t>ФП №  1.1.2.3.4.6.1-№  1.1.2.3.4.6.5 </a:t>
            </a:r>
          </a:p>
        </p:txBody>
      </p:sp>
    </p:spTree>
    <p:extLst>
      <p:ext uri="{BB962C8B-B14F-4D97-AF65-F5344CB8AC3E}">
        <p14:creationId xmlns:p14="http://schemas.microsoft.com/office/powerpoint/2010/main" val="5172886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Рисунок 25"/>
          <p:cNvPicPr>
            <a:picLocks noChangeAspect="1"/>
          </p:cNvPicPr>
          <p:nvPr/>
        </p:nvPicPr>
        <p:blipFill rotWithShape="1">
          <a:blip r:embed="rId5"/>
          <a:srcRect t="12630"/>
          <a:stretch/>
        </p:blipFill>
        <p:spPr>
          <a:xfrm>
            <a:off x="3711239" y="4447651"/>
            <a:ext cx="3833844" cy="308210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57447" y="567799"/>
            <a:ext cx="4346807" cy="10046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38" name="Слайд think-cell" r:id="rId7" imgW="359" imgH="360" progId="TCLayout.ActiveDocument.1">
                  <p:embed/>
                </p:oleObj>
              </mc:Choice>
              <mc:Fallback>
                <p:oleObj name="Слайд think-cell" r:id="rId7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xmlns="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11375669" y="2257824"/>
            <a:ext cx="812363" cy="754751"/>
          </a:xfrm>
          <a:prstGeom prst="rect">
            <a:avLst/>
          </a:prstGeom>
          <a:solidFill>
            <a:srgbClr val="40D4E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3"/>
          <p:cNvSpPr>
            <a:spLocks noChangeArrowheads="1"/>
          </p:cNvSpPr>
          <p:nvPr/>
        </p:nvSpPr>
        <p:spPr bwMode="auto">
          <a:xfrm>
            <a:off x="11375669" y="5276823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4"/>
          <p:cNvSpPr>
            <a:spLocks noChangeArrowheads="1"/>
          </p:cNvSpPr>
          <p:nvPr/>
        </p:nvSpPr>
        <p:spPr bwMode="auto">
          <a:xfrm>
            <a:off x="11376586" y="4522072"/>
            <a:ext cx="812363" cy="754751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17"/>
          <p:cNvSpPr>
            <a:spLocks noChangeArrowheads="1"/>
          </p:cNvSpPr>
          <p:nvPr/>
        </p:nvSpPr>
        <p:spPr bwMode="auto">
          <a:xfrm>
            <a:off x="11375670" y="-4589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19"/>
          <p:cNvSpPr>
            <a:spLocks noChangeArrowheads="1"/>
          </p:cNvSpPr>
          <p:nvPr/>
        </p:nvSpPr>
        <p:spPr bwMode="auto">
          <a:xfrm>
            <a:off x="11376586" y="3012572"/>
            <a:ext cx="812363" cy="754751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1"/>
          <p:cNvSpPr>
            <a:spLocks noChangeArrowheads="1"/>
          </p:cNvSpPr>
          <p:nvPr/>
        </p:nvSpPr>
        <p:spPr bwMode="auto">
          <a:xfrm>
            <a:off x="11376586" y="6031572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2"/>
          <p:cNvSpPr>
            <a:spLocks noChangeArrowheads="1"/>
          </p:cNvSpPr>
          <p:nvPr/>
        </p:nvSpPr>
        <p:spPr bwMode="auto">
          <a:xfrm>
            <a:off x="11375670" y="1502768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2" name="Rectangle 25"/>
          <p:cNvSpPr>
            <a:spLocks noChangeArrowheads="1"/>
          </p:cNvSpPr>
          <p:nvPr/>
        </p:nvSpPr>
        <p:spPr bwMode="auto">
          <a:xfrm>
            <a:off x="11376586" y="3767322"/>
            <a:ext cx="812363" cy="754751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29"/>
          <p:cNvSpPr>
            <a:spLocks noChangeArrowheads="1"/>
          </p:cNvSpPr>
          <p:nvPr/>
        </p:nvSpPr>
        <p:spPr bwMode="auto">
          <a:xfrm>
            <a:off x="11375670" y="748019"/>
            <a:ext cx="812363" cy="754751"/>
          </a:xfrm>
          <a:prstGeom prst="rect">
            <a:avLst/>
          </a:prstGeom>
          <a:solidFill>
            <a:srgbClr val="9ED44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2"/>
          <p:cNvSpPr>
            <a:spLocks noEditPoints="1"/>
          </p:cNvSpPr>
          <p:nvPr/>
        </p:nvSpPr>
        <p:spPr bwMode="auto">
          <a:xfrm>
            <a:off x="11600809" y="2514255"/>
            <a:ext cx="362085" cy="271895"/>
          </a:xfrm>
          <a:custGeom>
            <a:avLst/>
            <a:gdLst>
              <a:gd name="T0" fmla="*/ 787 w 859"/>
              <a:gd name="T1" fmla="*/ 107 h 644"/>
              <a:gd name="T2" fmla="*/ 787 w 859"/>
              <a:gd name="T3" fmla="*/ 573 h 644"/>
              <a:gd name="T4" fmla="*/ 537 w 859"/>
              <a:gd name="T5" fmla="*/ 573 h 644"/>
              <a:gd name="T6" fmla="*/ 465 w 859"/>
              <a:gd name="T7" fmla="*/ 644 h 644"/>
              <a:gd name="T8" fmla="*/ 859 w 859"/>
              <a:gd name="T9" fmla="*/ 644 h 644"/>
              <a:gd name="T10" fmla="*/ 859 w 859"/>
              <a:gd name="T11" fmla="*/ 107 h 644"/>
              <a:gd name="T12" fmla="*/ 787 w 859"/>
              <a:gd name="T13" fmla="*/ 107 h 644"/>
              <a:gd name="T14" fmla="*/ 476 w 859"/>
              <a:gd name="T15" fmla="*/ 476 h 644"/>
              <a:gd name="T16" fmla="*/ 383 w 859"/>
              <a:gd name="T17" fmla="*/ 476 h 644"/>
              <a:gd name="T18" fmla="*/ 373 w 859"/>
              <a:gd name="T19" fmla="*/ 465 h 644"/>
              <a:gd name="T20" fmla="*/ 179 w 859"/>
              <a:gd name="T21" fmla="*/ 465 h 644"/>
              <a:gd name="T22" fmla="*/ 179 w 859"/>
              <a:gd name="T23" fmla="*/ 71 h 644"/>
              <a:gd name="T24" fmla="*/ 344 w 859"/>
              <a:gd name="T25" fmla="*/ 71 h 644"/>
              <a:gd name="T26" fmla="*/ 393 w 859"/>
              <a:gd name="T27" fmla="*/ 96 h 644"/>
              <a:gd name="T28" fmla="*/ 393 w 859"/>
              <a:gd name="T29" fmla="*/ 358 h 644"/>
              <a:gd name="T30" fmla="*/ 465 w 859"/>
              <a:gd name="T31" fmla="*/ 358 h 644"/>
              <a:gd name="T32" fmla="*/ 465 w 859"/>
              <a:gd name="T33" fmla="*/ 96 h 644"/>
              <a:gd name="T34" fmla="*/ 515 w 859"/>
              <a:gd name="T35" fmla="*/ 71 h 644"/>
              <a:gd name="T36" fmla="*/ 680 w 859"/>
              <a:gd name="T37" fmla="*/ 71 h 644"/>
              <a:gd name="T38" fmla="*/ 680 w 859"/>
              <a:gd name="T39" fmla="*/ 465 h 644"/>
              <a:gd name="T40" fmla="*/ 486 w 859"/>
              <a:gd name="T41" fmla="*/ 465 h 644"/>
              <a:gd name="T42" fmla="*/ 476 w 859"/>
              <a:gd name="T43" fmla="*/ 476 h 644"/>
              <a:gd name="T44" fmla="*/ 752 w 859"/>
              <a:gd name="T45" fmla="*/ 537 h 644"/>
              <a:gd name="T46" fmla="*/ 752 w 859"/>
              <a:gd name="T47" fmla="*/ 0 h 644"/>
              <a:gd name="T48" fmla="*/ 486 w 859"/>
              <a:gd name="T49" fmla="*/ 0 h 644"/>
              <a:gd name="T50" fmla="*/ 476 w 859"/>
              <a:gd name="T51" fmla="*/ 10 h 644"/>
              <a:gd name="T52" fmla="*/ 383 w 859"/>
              <a:gd name="T53" fmla="*/ 10 h 644"/>
              <a:gd name="T54" fmla="*/ 373 w 859"/>
              <a:gd name="T55" fmla="*/ 0 h 644"/>
              <a:gd name="T56" fmla="*/ 107 w 859"/>
              <a:gd name="T57" fmla="*/ 0 h 644"/>
              <a:gd name="T58" fmla="*/ 107 w 859"/>
              <a:gd name="T59" fmla="*/ 537 h 644"/>
              <a:gd name="T60" fmla="*/ 344 w 859"/>
              <a:gd name="T61" fmla="*/ 537 h 644"/>
              <a:gd name="T62" fmla="*/ 429 w 859"/>
              <a:gd name="T63" fmla="*/ 566 h 644"/>
              <a:gd name="T64" fmla="*/ 515 w 859"/>
              <a:gd name="T65" fmla="*/ 537 h 644"/>
              <a:gd name="T66" fmla="*/ 752 w 859"/>
              <a:gd name="T67" fmla="*/ 537 h 644"/>
              <a:gd name="T68" fmla="*/ 71 w 859"/>
              <a:gd name="T69" fmla="*/ 573 h 644"/>
              <a:gd name="T70" fmla="*/ 71 w 859"/>
              <a:gd name="T71" fmla="*/ 107 h 644"/>
              <a:gd name="T72" fmla="*/ 0 w 859"/>
              <a:gd name="T73" fmla="*/ 107 h 644"/>
              <a:gd name="T74" fmla="*/ 0 w 859"/>
              <a:gd name="T75" fmla="*/ 644 h 644"/>
              <a:gd name="T76" fmla="*/ 394 w 859"/>
              <a:gd name="T77" fmla="*/ 644 h 644"/>
              <a:gd name="T78" fmla="*/ 322 w 859"/>
              <a:gd name="T79" fmla="*/ 573 h 644"/>
              <a:gd name="T80" fmla="*/ 71 w 859"/>
              <a:gd name="T81" fmla="*/ 573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9" h="644">
                <a:moveTo>
                  <a:pt x="787" y="107"/>
                </a:moveTo>
                <a:lnTo>
                  <a:pt x="787" y="573"/>
                </a:lnTo>
                <a:lnTo>
                  <a:pt x="537" y="573"/>
                </a:lnTo>
                <a:lnTo>
                  <a:pt x="465" y="644"/>
                </a:lnTo>
                <a:lnTo>
                  <a:pt x="859" y="644"/>
                </a:lnTo>
                <a:lnTo>
                  <a:pt x="859" y="107"/>
                </a:lnTo>
                <a:lnTo>
                  <a:pt x="787" y="107"/>
                </a:lnTo>
                <a:close/>
                <a:moveTo>
                  <a:pt x="476" y="476"/>
                </a:moveTo>
                <a:cubicBezTo>
                  <a:pt x="450" y="501"/>
                  <a:pt x="409" y="501"/>
                  <a:pt x="383" y="476"/>
                </a:cubicBezTo>
                <a:lnTo>
                  <a:pt x="373" y="465"/>
                </a:lnTo>
                <a:lnTo>
                  <a:pt x="179" y="465"/>
                </a:lnTo>
                <a:lnTo>
                  <a:pt x="179" y="71"/>
                </a:lnTo>
                <a:lnTo>
                  <a:pt x="344" y="71"/>
                </a:lnTo>
                <a:cubicBezTo>
                  <a:pt x="359" y="71"/>
                  <a:pt x="393" y="91"/>
                  <a:pt x="393" y="96"/>
                </a:cubicBezTo>
                <a:lnTo>
                  <a:pt x="393" y="358"/>
                </a:lnTo>
                <a:lnTo>
                  <a:pt x="465" y="358"/>
                </a:lnTo>
                <a:lnTo>
                  <a:pt x="465" y="96"/>
                </a:lnTo>
                <a:cubicBezTo>
                  <a:pt x="465" y="91"/>
                  <a:pt x="500" y="71"/>
                  <a:pt x="515" y="71"/>
                </a:cubicBezTo>
                <a:lnTo>
                  <a:pt x="680" y="71"/>
                </a:lnTo>
                <a:lnTo>
                  <a:pt x="680" y="465"/>
                </a:lnTo>
                <a:lnTo>
                  <a:pt x="486" y="465"/>
                </a:lnTo>
                <a:lnTo>
                  <a:pt x="476" y="476"/>
                </a:lnTo>
                <a:close/>
                <a:moveTo>
                  <a:pt x="752" y="537"/>
                </a:moveTo>
                <a:lnTo>
                  <a:pt x="752" y="0"/>
                </a:lnTo>
                <a:lnTo>
                  <a:pt x="486" y="0"/>
                </a:lnTo>
                <a:lnTo>
                  <a:pt x="476" y="10"/>
                </a:lnTo>
                <a:cubicBezTo>
                  <a:pt x="450" y="36"/>
                  <a:pt x="409" y="36"/>
                  <a:pt x="383" y="10"/>
                </a:cubicBezTo>
                <a:lnTo>
                  <a:pt x="373" y="0"/>
                </a:lnTo>
                <a:lnTo>
                  <a:pt x="107" y="0"/>
                </a:lnTo>
                <a:lnTo>
                  <a:pt x="107" y="537"/>
                </a:lnTo>
                <a:lnTo>
                  <a:pt x="344" y="537"/>
                </a:lnTo>
                <a:cubicBezTo>
                  <a:pt x="369" y="573"/>
                  <a:pt x="399" y="566"/>
                  <a:pt x="429" y="566"/>
                </a:cubicBezTo>
                <a:cubicBezTo>
                  <a:pt x="460" y="566"/>
                  <a:pt x="490" y="573"/>
                  <a:pt x="515" y="537"/>
                </a:cubicBezTo>
                <a:lnTo>
                  <a:pt x="752" y="537"/>
                </a:lnTo>
                <a:close/>
                <a:moveTo>
                  <a:pt x="71" y="573"/>
                </a:moveTo>
                <a:lnTo>
                  <a:pt x="71" y="107"/>
                </a:lnTo>
                <a:lnTo>
                  <a:pt x="0" y="107"/>
                </a:lnTo>
                <a:lnTo>
                  <a:pt x="0" y="644"/>
                </a:lnTo>
                <a:lnTo>
                  <a:pt x="394" y="644"/>
                </a:lnTo>
                <a:lnTo>
                  <a:pt x="322" y="573"/>
                </a:lnTo>
                <a:lnTo>
                  <a:pt x="71" y="5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0"/>
          <p:cNvSpPr>
            <a:spLocks noEditPoints="1"/>
          </p:cNvSpPr>
          <p:nvPr/>
        </p:nvSpPr>
        <p:spPr bwMode="auto">
          <a:xfrm>
            <a:off x="11601728" y="1744503"/>
            <a:ext cx="360248" cy="301287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8" name="Freeform 41"/>
          <p:cNvSpPr>
            <a:spLocks/>
          </p:cNvSpPr>
          <p:nvPr/>
        </p:nvSpPr>
        <p:spPr bwMode="auto">
          <a:xfrm>
            <a:off x="11600809" y="4756459"/>
            <a:ext cx="362085" cy="315984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69" name="Группа 68"/>
          <p:cNvGrpSpPr/>
          <p:nvPr/>
        </p:nvGrpSpPr>
        <p:grpSpPr>
          <a:xfrm>
            <a:off x="11614594" y="200960"/>
            <a:ext cx="334516" cy="361915"/>
            <a:chOff x="477468" y="2705515"/>
            <a:chExt cx="409903" cy="443477"/>
          </a:xfrm>
        </p:grpSpPr>
        <p:sp>
          <p:nvSpPr>
            <p:cNvPr id="70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1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72" name="Freeform 44"/>
          <p:cNvSpPr>
            <a:spLocks noEditPoints="1"/>
          </p:cNvSpPr>
          <p:nvPr/>
        </p:nvSpPr>
        <p:spPr bwMode="auto">
          <a:xfrm>
            <a:off x="11606322" y="5464056"/>
            <a:ext cx="351059" cy="380284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3" name="Freeform 45"/>
          <p:cNvSpPr>
            <a:spLocks noEditPoints="1"/>
          </p:cNvSpPr>
          <p:nvPr/>
        </p:nvSpPr>
        <p:spPr bwMode="auto">
          <a:xfrm>
            <a:off x="11601728" y="966788"/>
            <a:ext cx="360248" cy="347216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89" name="Freeform 46"/>
          <p:cNvSpPr>
            <a:spLocks noEditPoints="1"/>
          </p:cNvSpPr>
          <p:nvPr/>
        </p:nvSpPr>
        <p:spPr bwMode="auto">
          <a:xfrm>
            <a:off x="11655949" y="3977824"/>
            <a:ext cx="251807" cy="363751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5" name="Freeform 52"/>
          <p:cNvSpPr>
            <a:spLocks noEditPoints="1"/>
          </p:cNvSpPr>
          <p:nvPr/>
        </p:nvSpPr>
        <p:spPr bwMode="auto">
          <a:xfrm>
            <a:off x="11605404" y="3223075"/>
            <a:ext cx="352896" cy="36375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Freeform 53"/>
          <p:cNvSpPr>
            <a:spLocks noEditPoints="1"/>
          </p:cNvSpPr>
          <p:nvPr/>
        </p:nvSpPr>
        <p:spPr bwMode="auto">
          <a:xfrm>
            <a:off x="11594376" y="6260448"/>
            <a:ext cx="374952" cy="327005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115" name="AutoShape 4"/>
          <p:cNvSpPr>
            <a:spLocks noChangeAspect="1" noChangeArrowheads="1" noTextEdit="1"/>
          </p:cNvSpPr>
          <p:nvPr/>
        </p:nvSpPr>
        <p:spPr bwMode="auto">
          <a:xfrm>
            <a:off x="5844301" y="1808388"/>
            <a:ext cx="918665" cy="317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2" name="Группа 41"/>
          <p:cNvGrpSpPr/>
          <p:nvPr/>
        </p:nvGrpSpPr>
        <p:grpSpPr>
          <a:xfrm>
            <a:off x="183378" y="87899"/>
            <a:ext cx="1268960" cy="438775"/>
            <a:chOff x="254665" y="195486"/>
            <a:chExt cx="951720" cy="329081"/>
          </a:xfrm>
        </p:grpSpPr>
        <p:sp>
          <p:nvSpPr>
            <p:cNvPr id="55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10"/>
          <a:srcRect t="422"/>
          <a:stretch/>
        </p:blipFill>
        <p:spPr>
          <a:xfrm>
            <a:off x="117312" y="599108"/>
            <a:ext cx="3490913" cy="4528291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Прямоугольник 6"/>
          <p:cNvSpPr/>
          <p:nvPr/>
        </p:nvSpPr>
        <p:spPr>
          <a:xfrm>
            <a:off x="2553934" y="45677"/>
            <a:ext cx="661854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>
                <a:solidFill>
                  <a:srgbClr val="002060"/>
                </a:solidFill>
              </a:rPr>
              <a:t>Обновлен формат учебников 5-9 классов</a:t>
            </a: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11"/>
          <a:srcRect t="9818" r="4194" b="14916"/>
          <a:stretch/>
        </p:blipFill>
        <p:spPr>
          <a:xfrm>
            <a:off x="3835670" y="5210134"/>
            <a:ext cx="4514557" cy="141546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364174" y="957710"/>
            <a:ext cx="3862274" cy="115868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586697" y="3901461"/>
            <a:ext cx="3789889" cy="168308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17312" y="5195258"/>
            <a:ext cx="3593927" cy="1527804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711512" y="1783586"/>
            <a:ext cx="3893151" cy="118587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393868" y="2291402"/>
            <a:ext cx="4000684" cy="114559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3684949" y="3481607"/>
            <a:ext cx="3885762" cy="908191"/>
          </a:xfrm>
          <a:prstGeom prst="rect">
            <a:avLst/>
          </a:prstGeom>
        </p:spPr>
      </p:pic>
      <p:sp>
        <p:nvSpPr>
          <p:cNvPr id="24" name="Скругленный прямоугольник 23"/>
          <p:cNvSpPr/>
          <p:nvPr/>
        </p:nvSpPr>
        <p:spPr>
          <a:xfrm>
            <a:off x="3835670" y="4151215"/>
            <a:ext cx="3683123" cy="591383"/>
          </a:xfrm>
          <a:prstGeom prst="round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83" name="Прямая соединительная линия 82"/>
          <p:cNvCxnSpPr/>
          <p:nvPr/>
        </p:nvCxnSpPr>
        <p:spPr>
          <a:xfrm>
            <a:off x="1606858" y="497422"/>
            <a:ext cx="9706667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88098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533E0A40001E814E995471E0489B1028" ma:contentTypeVersion="1" ma:contentTypeDescription="Создание документа." ma:contentTypeScope="" ma:versionID="1ef7d38ec03c930eb334f4ee5131ff55">
  <xsd:schema xmlns:xsd="http://www.w3.org/2001/XMLSchema" xmlns:xs="http://www.w3.org/2001/XMLSchema" xmlns:p="http://schemas.microsoft.com/office/2006/metadata/properties" xmlns:ns2="d93f08c7-4dc9-4366-b183-71f4e46057df" targetNamespace="http://schemas.microsoft.com/office/2006/metadata/properties" ma:root="true" ma:fieldsID="901426136c3cb9e8a8df3f1a14d2308d" ns2:_="">
    <xsd:import namespace="d93f08c7-4dc9-4366-b183-71f4e46057df"/>
    <xsd:element name="properties">
      <xsd:complexType>
        <xsd:sequence>
          <xsd:element name="documentManagement">
            <xsd:complexType>
              <xsd:all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93f08c7-4dc9-4366-b183-71f4e46057df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Общий доступ с использованием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A594C8BA-E70F-4DFD-B72A-2D1388E7A5EA}"/>
</file>

<file path=customXml/itemProps2.xml><?xml version="1.0" encoding="utf-8"?>
<ds:datastoreItem xmlns:ds="http://schemas.openxmlformats.org/officeDocument/2006/customXml" ds:itemID="{37454DD8-1D61-4DE5-8074-E7CF816BAF1D}"/>
</file>

<file path=customXml/itemProps3.xml><?xml version="1.0" encoding="utf-8"?>
<ds:datastoreItem xmlns:ds="http://schemas.openxmlformats.org/officeDocument/2006/customXml" ds:itemID="{9D6394C5-8B91-4D44-A0A2-9770336CEF35}"/>
</file>

<file path=docProps/app.xml><?xml version="1.0" encoding="utf-8"?>
<Properties xmlns="http://schemas.openxmlformats.org/officeDocument/2006/extended-properties" xmlns:vt="http://schemas.openxmlformats.org/officeDocument/2006/docPropsVTypes">
  <TotalTime>22541</TotalTime>
  <Words>3411</Words>
  <Application>Microsoft Office PowerPoint</Application>
  <PresentationFormat>Широкоэкранный</PresentationFormat>
  <Paragraphs>576</Paragraphs>
  <Slides>45</Slides>
  <Notes>4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5</vt:i4>
      </vt:variant>
    </vt:vector>
  </HeadingPairs>
  <TitlesOfParts>
    <vt:vector size="58" baseType="lpstr">
      <vt:lpstr>Arial</vt:lpstr>
      <vt:lpstr>Calibri</vt:lpstr>
      <vt:lpstr>Calibri Light</vt:lpstr>
      <vt:lpstr>Cambria Math</vt:lpstr>
      <vt:lpstr>Carlito</vt:lpstr>
      <vt:lpstr>Franklin Gothic Book</vt:lpstr>
      <vt:lpstr>Open Sans</vt:lpstr>
      <vt:lpstr>Open Sans Condensed</vt:lpstr>
      <vt:lpstr>Open Sans Light</vt:lpstr>
      <vt:lpstr>Symbol</vt:lpstr>
      <vt:lpstr>Times New Roman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В ПОМОЩЬ ВЫПУСКНИКУ. ОГЭ. ГЕОГРАФИЯ.  СПРАВОЧНИК С КОММЕНТАРИЯМИ ВЕДУЩИХ ЭКСПЕРТОВ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Грачева Екатерина Андреевна</dc:creator>
  <cp:lastModifiedBy>Администратор</cp:lastModifiedBy>
  <cp:revision>742</cp:revision>
  <dcterms:created xsi:type="dcterms:W3CDTF">2020-02-25T09:30:21Z</dcterms:created>
  <dcterms:modified xsi:type="dcterms:W3CDTF">2021-08-17T11:49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33E0A40001E814E995471E0489B1028</vt:lpwstr>
  </property>
</Properties>
</file>